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7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3.xml" ContentType="application/vnd.openxmlformats-officedocument.drawingml.chart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notesSlides/notesSlide4.xml" ContentType="application/vnd.openxmlformats-officedocument.presentationml.notesSlide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34.xml" ContentType="application/vnd.openxmlformats-officedocument.drawingml.chart+xml"/>
  <Override PartName="/ppt/ink/ink1.xml" ContentType="application/inkml+xml"/>
  <Override PartName="/ppt/ink/ink2.xml" ContentType="application/inkml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35.xml" ContentType="application/vnd.openxmlformats-officedocument.drawingml.chart+xml"/>
  <Override PartName="/ppt/ink/ink3.xml" ContentType="application/inkml+xml"/>
  <Override PartName="/ppt/ink/ink4.xml" ContentType="application/inkml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notesSlides/notesSlide7.xml" ContentType="application/vnd.openxmlformats-officedocument.presentationml.notesSlide+xml"/>
  <Override PartName="/ppt/charts/chart36.xml" ContentType="application/vnd.openxmlformats-officedocument.drawingml.chart+xml"/>
  <Override PartName="/ppt/ink/ink5.xml" ContentType="application/inkml+xml"/>
  <Override PartName="/ppt/ink/ink6.xml" ContentType="application/inkml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notesSlides/notesSlide8.xml" ContentType="application/vnd.openxmlformats-officedocument.presentationml.notesSlide+xml"/>
  <Override PartName="/ppt/charts/chart37.xml" ContentType="application/vnd.openxmlformats-officedocument.drawingml.chart+xml"/>
  <Override PartName="/ppt/ink/ink7.xml" ContentType="application/inkml+xml"/>
  <Override PartName="/ppt/ink/ink8.xml" ContentType="application/inkml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notesSlides/notesSlide9.xml" ContentType="application/vnd.openxmlformats-officedocument.presentationml.notesSlide+xml"/>
  <Override PartName="/ppt/charts/chart38.xml" ContentType="application/vnd.openxmlformats-officedocument.drawingml.chart+xml"/>
  <Override PartName="/ppt/ink/ink9.xml" ContentType="application/inkml+xml"/>
  <Override PartName="/ppt/ink/ink10.xml" ContentType="application/inkml+xml"/>
  <Override PartName="/ppt/ink/ink11.xml" ContentType="application/inkml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39.xml" ContentType="application/vnd.openxmlformats-officedocument.drawingml.chart+xml"/>
  <Override PartName="/ppt/ink/ink12.xml" ContentType="application/inkml+xml"/>
  <Override PartName="/ppt/ink/ink13.xml" ContentType="application/inkml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40.xml" ContentType="application/vnd.openxmlformats-officedocument.drawingml.chart+xml"/>
  <Override PartName="/ppt/ink/ink14.xml" ContentType="application/inkml+xml"/>
  <Override PartName="/ppt/ink/ink15.xml" ContentType="application/inkml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41.xml" ContentType="application/vnd.openxmlformats-officedocument.drawingml.chart+xml"/>
  <Override PartName="/ppt/ink/ink16.xml" ContentType="application/inkml+xml"/>
  <Override PartName="/ppt/ink/ink17.xml" ContentType="application/inkml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42.xml" ContentType="application/vnd.openxmlformats-officedocument.drawingml.chart+xml"/>
  <Override PartName="/ppt/ink/ink18.xml" ContentType="application/inkml+xml"/>
  <Override PartName="/ppt/ink/ink19.xml" ContentType="application/inkml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43.xml" ContentType="application/vnd.openxmlformats-officedocument.drawingml.chart+xml"/>
  <Override PartName="/ppt/ink/ink20.xml" ContentType="application/inkml+xml"/>
  <Override PartName="/ppt/ink/ink21.xml" ContentType="application/inkml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44.xml" ContentType="application/vnd.openxmlformats-officedocument.drawingml.chart+xml"/>
  <Override PartName="/ppt/ink/ink22.xml" ContentType="application/inkml+xml"/>
  <Override PartName="/ppt/ink/ink23.xml" ContentType="application/inkml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45.xml" ContentType="application/vnd.openxmlformats-officedocument.drawingml.chart+xml"/>
  <Override PartName="/ppt/ink/ink24.xml" ContentType="application/inkml+xml"/>
  <Override PartName="/ppt/ink/ink25.xml" ContentType="application/inkml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charts/chart46.xml" ContentType="application/vnd.openxmlformats-officedocument.drawingml.chart+xml"/>
  <Override PartName="/ppt/charts/chart47.xml" ContentType="application/vnd.openxmlformats-officedocument.drawingml.chart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charts/chart48.xml" ContentType="application/vnd.openxmlformats-officedocument.drawingml.chart+xml"/>
  <Override PartName="/ppt/charts/chart49.xml" ContentType="application/vnd.openxmlformats-officedocument.drawingml.chart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ppt/tags/tag1539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tags/tag1545.xml" ContentType="application/vnd.openxmlformats-officedocument.presentationml.tags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0.xml" ContentType="application/vnd.openxmlformats-officedocument.presentationml.tags+xml"/>
  <Override PartName="/ppt/charts/chart50.xml" ContentType="application/vnd.openxmlformats-officedocument.drawingml.chart+xml"/>
  <Override PartName="/ppt/charts/chart51.xml" ContentType="application/vnd.openxmlformats-officedocument.drawingml.chart+xml"/>
  <Override PartName="/ppt/charts/chart52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2" r:id="rId2"/>
    <p:sldMasterId id="2147483698" r:id="rId3"/>
  </p:sldMasterIdLst>
  <p:notesMasterIdLst>
    <p:notesMasterId r:id="rId35"/>
  </p:notesMasterIdLst>
  <p:sldIdLst>
    <p:sldId id="2134806740" r:id="rId4"/>
    <p:sldId id="2134806786" r:id="rId5"/>
    <p:sldId id="2134806744" r:id="rId6"/>
    <p:sldId id="354" r:id="rId7"/>
    <p:sldId id="2134806814" r:id="rId8"/>
    <p:sldId id="2134806756" r:id="rId9"/>
    <p:sldId id="2134806618" r:id="rId10"/>
    <p:sldId id="569" r:id="rId11"/>
    <p:sldId id="2134806757" r:id="rId12"/>
    <p:sldId id="2134806810" r:id="rId13"/>
    <p:sldId id="2134806811" r:id="rId14"/>
    <p:sldId id="2134806752" r:id="rId15"/>
    <p:sldId id="2134806755" r:id="rId16"/>
    <p:sldId id="423" r:id="rId17"/>
    <p:sldId id="346" r:id="rId18"/>
    <p:sldId id="2134806627" r:id="rId19"/>
    <p:sldId id="2134806628" r:id="rId20"/>
    <p:sldId id="473" r:id="rId21"/>
    <p:sldId id="2134806620" r:id="rId22"/>
    <p:sldId id="474" r:id="rId23"/>
    <p:sldId id="2134806621" r:id="rId24"/>
    <p:sldId id="2134806812" r:id="rId25"/>
    <p:sldId id="2134806622" r:id="rId26"/>
    <p:sldId id="476" r:id="rId27"/>
    <p:sldId id="2134806623" r:id="rId28"/>
    <p:sldId id="2134806798" r:id="rId29"/>
    <p:sldId id="2134806624" r:id="rId30"/>
    <p:sldId id="2134806753" r:id="rId31"/>
    <p:sldId id="2134806758" r:id="rId32"/>
    <p:sldId id="2134806759" r:id="rId33"/>
    <p:sldId id="2134806742" r:id="rId34"/>
  </p:sldIdLst>
  <p:sldSz cx="12192000" cy="6858000"/>
  <p:notesSz cx="6858000" cy="9144000"/>
  <p:custDataLst>
    <p:tags r:id="rId3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CA6FF"/>
    <a:srgbClr val="1E50A0"/>
    <a:srgbClr val="0080FF"/>
    <a:srgbClr val="295E7E"/>
    <a:srgbClr val="2E3558"/>
    <a:srgbClr val="0996BC"/>
    <a:srgbClr val="A426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458" autoAdjust="0"/>
  </p:normalViewPr>
  <p:slideViewPr>
    <p:cSldViewPr snapToGrid="0">
      <p:cViewPr varScale="1">
        <p:scale>
          <a:sx n="67" d="100"/>
          <a:sy n="67" d="100"/>
        </p:scale>
        <p:origin x="83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heme" Target="theme/theme1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onika Dhole" userId="4b73cf57-41b0-4aa6-96bc-23a650e58792" providerId="ADAL" clId="{93CF364C-533C-4FBF-A670-9BE891E31E19}"/>
    <pc:docChg chg="delSld">
      <pc:chgData name="Monika Dhole" userId="4b73cf57-41b0-4aa6-96bc-23a650e58792" providerId="ADAL" clId="{93CF364C-533C-4FBF-A670-9BE891E31E19}" dt="2023-07-29T09:35:48.363" v="0" actId="47"/>
      <pc:docMkLst>
        <pc:docMk/>
      </pc:docMkLst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740268533" sldId="351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3431198233" sldId="353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2043540621" sldId="355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2570844578" sldId="356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798135414" sldId="366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3816651101" sldId="368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801121945" sldId="369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887995638" sldId="379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830375560" sldId="427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591747207" sldId="428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405132413" sldId="430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206405460" sldId="431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762972599" sldId="432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895539959" sldId="433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620659772" sldId="434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4030614793" sldId="436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3771104388" sldId="437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991431234" sldId="439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40055681" sldId="440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334754307" sldId="442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3487615785" sldId="445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73477717" sldId="449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3005984543" sldId="451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457144995" sldId="455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534135561" sldId="457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4191585261" sldId="458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2715529839" sldId="460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440908181" sldId="461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2468381833" sldId="463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852533312" sldId="479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4092598443" sldId="481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935474930" sldId="2134806630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624186693" sldId="2134806631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2727267503" sldId="2134806635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343851654" sldId="2134806637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860125572" sldId="2134806640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3215205445" sldId="2134806641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907224769" sldId="2134806652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628616028" sldId="2134806653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23014594" sldId="2134806655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332621694" sldId="2134806656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3557262286" sldId="2134806659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3511444660" sldId="2134806668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309612890" sldId="2134806673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3791758435" sldId="2134806674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920703707" sldId="2134806676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22752965" sldId="2134806677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3404810334" sldId="2134806679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660989187" sldId="2134806682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465059401" sldId="2134806683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3154879389" sldId="2134806685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2461742791" sldId="2134806686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780372325" sldId="2134806743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255634832" sldId="2134806760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3616590891" sldId="2134806770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3004080000" sldId="2134806772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4149626763" sldId="2134806773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756979126" sldId="2134806774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448595224" sldId="2134806775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3152638977" sldId="2134806776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2313529787" sldId="2134806777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332051706" sldId="2134806779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208701680" sldId="2134806780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3486792074" sldId="2134806782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2181733549" sldId="2134806783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259169462" sldId="2134806784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764105156" sldId="2134806785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3708732684" sldId="2134806788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3354302705" sldId="2134806789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138990936" sldId="2134806790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4261607029" sldId="2134806793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3249167486" sldId="2134806794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426367014" sldId="2134806796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3539440440" sldId="2134806799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714545943" sldId="2134806800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1878079145" sldId="2134806801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2143559394" sldId="2134806802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4231889636" sldId="2134806803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4137059486" sldId="2134806804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3897219934" sldId="2134806805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220533061" sldId="2134806806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298087386" sldId="2134806807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752316383" sldId="2134806808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4270699650" sldId="2134806809"/>
        </pc:sldMkLst>
      </pc:sldChg>
      <pc:sldChg chg="del">
        <pc:chgData name="Monika Dhole" userId="4b73cf57-41b0-4aa6-96bc-23a650e58792" providerId="ADAL" clId="{93CF364C-533C-4FBF-A670-9BE891E31E19}" dt="2023-07-29T09:35:48.363" v="0" actId="47"/>
        <pc:sldMkLst>
          <pc:docMk/>
          <pc:sldMk cId="2922305608" sldId="2134806813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Binary_Worksheet1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7.xlsb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8.xlsb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9.xlsb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0.xlsb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1.xlsb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2.xlsb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3.xlsb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4.xlsb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5.xlsb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6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7.xlsb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8.xlsb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9.xlsb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0.xlsb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1.xlsb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2.xlsb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3.xlsb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4.xlsb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5.xlsb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6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7.xlsb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8.xlsb"/></Relationships>
</file>

<file path=ppt/charts/_rels/chart4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9.xlsb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0.xlsb"/></Relationships>
</file>

<file path=ppt/charts/_rels/chart4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1.xlsb"/></Relationships>
</file>

<file path=ppt/charts/_rels/chart4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2.xlsb"/></Relationships>
</file>

<file path=ppt/charts/_rels/chart4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3.xlsb"/></Relationships>
</file>

<file path=ppt/charts/_rels/chart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4.xlsb"/></Relationships>
</file>

<file path=ppt/charts/_rels/chart4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5.xlsb"/></Relationships>
</file>

<file path=ppt/charts/_rels/chart4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6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5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7.xlsb"/></Relationships>
</file>

<file path=ppt/charts/_rels/chart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8.xlsb"/></Relationships>
</file>

<file path=ppt/charts/_rels/chart5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9.xlsb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conomic%20Indicator\FY24\Q1\Factsheet_July_2023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14798206278027E-2"/>
          <c:y val="8.1889804396951774E-2"/>
          <c:w val="0.94170403587443952"/>
          <c:h val="0.8362204724409448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1E50A0"/>
            </a:solidFill>
            <a:ln>
              <a:solidFill>
                <a:schemeClr val="accent1">
                  <a:lumMod val="75000"/>
                </a:schemeClr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46.5</c:v>
                </c:pt>
                <c:pt idx="1">
                  <c:v>138.69999999999999</c:v>
                </c:pt>
                <c:pt idx="2">
                  <c:v>151.4</c:v>
                </c:pt>
                <c:pt idx="3">
                  <c:v>140.5</c:v>
                </c:pt>
                <c:pt idx="4">
                  <c:v>1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E49-46EC-B545-49348EC1D9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00599991"/>
        <c:axId val="1"/>
      </c:barChart>
      <c:catAx>
        <c:axId val="9005999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5"/>
          <c:min val="125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rgbClr val="7F7F7F"/>
            </a:solidFill>
            <a:prstDash val="solid"/>
          </a:ln>
        </c:spPr>
        <c:crossAx val="900599991"/>
        <c:crosses val="min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123309897241752E-2"/>
          <c:y val="0.10077519379844961"/>
          <c:w val="0.94375338020551647"/>
          <c:h val="0.798449612403100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959A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5.813953488372092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090-40C4-9D48-D0D6AE46ED13}"/>
                </c:ext>
              </c:extLst>
            </c:dLbl>
            <c:dLbl>
              <c:idx val="1"/>
              <c:layout>
                <c:manualLayout>
                  <c:x val="0"/>
                  <c:y val="-5.813953488372092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090-40C4-9D48-D0D6AE46ED13}"/>
                </c:ext>
              </c:extLst>
            </c:dLbl>
            <c:dLbl>
              <c:idx val="2"/>
              <c:layout>
                <c:manualLayout>
                  <c:x val="0"/>
                  <c:y val="-5.813953488372092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090-40C4-9D48-D0D6AE46ED1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812</c:v>
                </c:pt>
                <c:pt idx="1">
                  <c:v>821</c:v>
                </c:pt>
                <c:pt idx="2">
                  <c:v>11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090-40C4-9D48-D0D6AE46ED13}"/>
            </c:ext>
          </c:extLst>
        </c:ser>
        <c:ser>
          <c:idx val="1"/>
          <c:order val="1"/>
          <c:spPr>
            <a:solidFill>
              <a:srgbClr val="0080FF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125</c:v>
                </c:pt>
                <c:pt idx="1">
                  <c:v>140</c:v>
                </c:pt>
                <c:pt idx="2">
                  <c:v>1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090-40C4-9D48-D0D6AE46ED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154966608"/>
        <c:axId val="1"/>
      </c:barChart>
      <c:catAx>
        <c:axId val="11549666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2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549666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123309897241752E-2"/>
          <c:y val="0.13648293963254593"/>
          <c:w val="0.94375338020551647"/>
          <c:h val="0.7270341207349081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959A5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1.049868766404199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DD9-48EF-B733-8229DA41620D}"/>
                </c:ext>
              </c:extLst>
            </c:dLbl>
            <c:dLbl>
              <c:idx val="2"/>
              <c:layout>
                <c:manualLayout>
                  <c:x val="0"/>
                  <c:y val="-1.049868766404199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DD9-48EF-B733-8229DA41620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541</c:v>
                </c:pt>
                <c:pt idx="1">
                  <c:v>3102</c:v>
                </c:pt>
                <c:pt idx="2">
                  <c:v>27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DD9-48EF-B733-8229DA41620D}"/>
            </c:ext>
          </c:extLst>
        </c:ser>
        <c:ser>
          <c:idx val="1"/>
          <c:order val="1"/>
          <c:spPr>
            <a:solidFill>
              <a:srgbClr val="0080FF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74</c:v>
                </c:pt>
                <c:pt idx="1">
                  <c:v>93</c:v>
                </c:pt>
                <c:pt idx="2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D9-48EF-B733-8229DA4162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90067408"/>
        <c:axId val="1"/>
      </c:barChart>
      <c:catAx>
        <c:axId val="900674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19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00674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123309897241752E-2"/>
          <c:y val="0.14730878186968838"/>
          <c:w val="0.94375338020551647"/>
          <c:h val="0.7053824362606232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959A5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1.13314447592067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EE5-4EC8-B4B5-6E561A9E237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08</c:v>
                </c:pt>
                <c:pt idx="1">
                  <c:v>652</c:v>
                </c:pt>
                <c:pt idx="2">
                  <c:v>5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EE5-4EC8-B4B5-6E561A9E2374}"/>
            </c:ext>
          </c:extLst>
        </c:ser>
        <c:ser>
          <c:idx val="1"/>
          <c:order val="1"/>
          <c:spPr>
            <a:solidFill>
              <a:srgbClr val="0080FF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0</c:v>
                </c:pt>
                <c:pt idx="1">
                  <c:v>72</c:v>
                </c:pt>
                <c:pt idx="2">
                  <c:v>1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EE5-4EC8-B4B5-6E561A9E23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03006208"/>
        <c:axId val="1"/>
      </c:barChart>
      <c:catAx>
        <c:axId val="1030062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2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30062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1555555555555556E-2"/>
          <c:y val="3.1156381066506891E-2"/>
          <c:w val="0.89688888888888885"/>
          <c:h val="0.9376872378669862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959A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3966446974236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66D-42FB-819D-2A9C52F806E5}"/>
                </c:ext>
              </c:extLst>
            </c:dLbl>
            <c:dLbl>
              <c:idx val="1"/>
              <c:layout>
                <c:manualLayout>
                  <c:x val="0"/>
                  <c:y val="-2.3966446974236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66D-42FB-819D-2A9C52F806E5}"/>
                </c:ext>
              </c:extLst>
            </c:dLbl>
            <c:dLbl>
              <c:idx val="2"/>
              <c:layout>
                <c:manualLayout>
                  <c:x val="0"/>
                  <c:y val="-2.995805871779508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66D-42FB-819D-2A9C52F806E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3157</c:v>
                </c:pt>
                <c:pt idx="1">
                  <c:v>21299</c:v>
                </c:pt>
                <c:pt idx="2">
                  <c:v>248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66D-42FB-819D-2A9C52F806E5}"/>
            </c:ext>
          </c:extLst>
        </c:ser>
        <c:ser>
          <c:idx val="1"/>
          <c:order val="1"/>
          <c:spPr>
            <a:solidFill>
              <a:srgbClr val="0080FF"/>
            </a:solidFill>
            <a:ln>
              <a:noFill/>
            </a:ln>
          </c:spPr>
          <c:invertIfNegative val="0"/>
          <c:dLbls>
            <c:dLbl>
              <c:idx val="2"/>
              <c:layout>
                <c:manualLayout>
                  <c:x val="0"/>
                  <c:y val="-2.3966446974236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66D-42FB-819D-2A9C52F806E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1369</c:v>
                </c:pt>
                <c:pt idx="1">
                  <c:v>1738</c:v>
                </c:pt>
                <c:pt idx="2">
                  <c:v>24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66D-42FB-819D-2A9C52F806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677248143"/>
        <c:axId val="1"/>
      </c:barChart>
      <c:catAx>
        <c:axId val="16772481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724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7724814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603151157065487E-2"/>
          <c:y val="3.0057803468208091E-2"/>
          <c:w val="0.94879369768586908"/>
          <c:h val="0.9398843930635838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1E50A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73410404624277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BEF-4465-8D87-5D70E498F346}"/>
                </c:ext>
              </c:extLst>
            </c:dLbl>
            <c:dLbl>
              <c:idx val="1"/>
              <c:layout>
                <c:manualLayout>
                  <c:x val="0"/>
                  <c:y val="-1.73410404624277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BEF-4465-8D87-5D70E498F346}"/>
                </c:ext>
              </c:extLst>
            </c:dLbl>
            <c:dLbl>
              <c:idx val="2"/>
              <c:layout>
                <c:manualLayout>
                  <c:x val="0"/>
                  <c:y val="-1.73410404624277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BEF-4465-8D87-5D70E498F346}"/>
                </c:ext>
              </c:extLst>
            </c:dLbl>
            <c:dLbl>
              <c:idx val="3"/>
              <c:layout>
                <c:manualLayout>
                  <c:x val="0"/>
                  <c:y val="-2.312138728323699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BEF-4465-8D87-5D70E498F34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21231</c:v>
                </c:pt>
                <c:pt idx="1">
                  <c:v>25565</c:v>
                </c:pt>
                <c:pt idx="2">
                  <c:v>31640</c:v>
                </c:pt>
                <c:pt idx="3">
                  <c:v>248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BEF-4465-8D87-5D70E498F346}"/>
            </c:ext>
          </c:extLst>
        </c:ser>
        <c:ser>
          <c:idx val="1"/>
          <c:order val="1"/>
          <c:spPr>
            <a:solidFill>
              <a:srgbClr val="0080F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73410404624277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BEF-4465-8D87-5D70E498F346}"/>
                </c:ext>
              </c:extLst>
            </c:dLbl>
            <c:dLbl>
              <c:idx val="1"/>
              <c:layout>
                <c:manualLayout>
                  <c:x val="0"/>
                  <c:y val="-1.73410404624277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BEF-4465-8D87-5D70E498F346}"/>
                </c:ext>
              </c:extLst>
            </c:dLbl>
            <c:dLbl>
              <c:idx val="2"/>
              <c:layout>
                <c:manualLayout>
                  <c:x val="0"/>
                  <c:y val="-1.73410404624277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BEF-4465-8D87-5D70E498F346}"/>
                </c:ext>
              </c:extLst>
            </c:dLbl>
            <c:dLbl>
              <c:idx val="3"/>
              <c:layout>
                <c:manualLayout>
                  <c:x val="0"/>
                  <c:y val="-2.312138728323699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BEF-4465-8D87-5D70E498F34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1710</c:v>
                </c:pt>
                <c:pt idx="1">
                  <c:v>2252</c:v>
                </c:pt>
                <c:pt idx="2">
                  <c:v>2344</c:v>
                </c:pt>
                <c:pt idx="3">
                  <c:v>24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BEF-4465-8D87-5D70E498F3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638489887"/>
        <c:axId val="1"/>
      </c:barChart>
      <c:catAx>
        <c:axId val="16384898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398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3848988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953917050691243E-2"/>
          <c:y val="8.3333333333333329E-2"/>
          <c:w val="0.94009216589861755"/>
          <c:h val="0.833333333333333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1E50A0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15420</c:v>
                </c:pt>
                <c:pt idx="1">
                  <c:v>18186</c:v>
                </c:pt>
                <c:pt idx="2">
                  <c:v>22417</c:v>
                </c:pt>
                <c:pt idx="3">
                  <c:v>167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6D-4DE4-9EB6-81434A9F64A9}"/>
            </c:ext>
          </c:extLst>
        </c:ser>
        <c:ser>
          <c:idx val="1"/>
          <c:order val="1"/>
          <c:spPr>
            <a:solidFill>
              <a:srgbClr val="0080FF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1441</c:v>
                </c:pt>
                <c:pt idx="1">
                  <c:v>1877</c:v>
                </c:pt>
                <c:pt idx="2">
                  <c:v>1960</c:v>
                </c:pt>
                <c:pt idx="3">
                  <c:v>20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06D-4DE4-9EB6-81434A9F64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782185920"/>
        <c:axId val="1"/>
      </c:barChart>
      <c:catAx>
        <c:axId val="7821859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437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821859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953917050691243E-2"/>
          <c:y val="7.6809453471196457E-2"/>
          <c:w val="0.94009216589861755"/>
          <c:h val="0.8463810930576071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1E50A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4.431314623338257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B4C-47E0-800D-BBA7BAD7B8CB}"/>
                </c:ext>
              </c:extLst>
            </c:dLbl>
            <c:dLbl>
              <c:idx val="1"/>
              <c:layout>
                <c:manualLayout>
                  <c:x val="0"/>
                  <c:y val="-5.908419497784343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B4C-47E0-800D-BBA7BAD7B8CB}"/>
                </c:ext>
              </c:extLst>
            </c:dLbl>
            <c:dLbl>
              <c:idx val="2"/>
              <c:layout>
                <c:manualLayout>
                  <c:x val="0"/>
                  <c:y val="-4.431314623338257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B4C-47E0-800D-BBA7BAD7B8CB}"/>
                </c:ext>
              </c:extLst>
            </c:dLbl>
            <c:dLbl>
              <c:idx val="3"/>
              <c:layout>
                <c:manualLayout>
                  <c:x val="0"/>
                  <c:y val="-4.431314623338257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B4C-47E0-800D-BBA7BAD7B8C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719</c:v>
                </c:pt>
                <c:pt idx="1">
                  <c:v>1267</c:v>
                </c:pt>
                <c:pt idx="2">
                  <c:v>1482</c:v>
                </c:pt>
                <c:pt idx="3">
                  <c:v>11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B4C-47E0-800D-BBA7BAD7B8CB}"/>
            </c:ext>
          </c:extLst>
        </c:ser>
        <c:ser>
          <c:idx val="1"/>
          <c:order val="1"/>
          <c:spPr>
            <a:solidFill>
              <a:srgbClr val="0080FF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91</c:v>
                </c:pt>
                <c:pt idx="1">
                  <c:v>151</c:v>
                </c:pt>
                <c:pt idx="2">
                  <c:v>157</c:v>
                </c:pt>
                <c:pt idx="3">
                  <c:v>1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B4C-47E0-800D-BBA7BAD7B8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904807151"/>
        <c:axId val="1"/>
      </c:barChart>
      <c:catAx>
        <c:axId val="9048071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3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048071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953917050691243E-2"/>
          <c:y val="8.3333333333333329E-2"/>
          <c:w val="0.94009216589861755"/>
          <c:h val="0.833333333333333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1E50A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4.80769230769230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B9A-484C-A6A5-6292E607DAC8}"/>
                </c:ext>
              </c:extLst>
            </c:dLbl>
            <c:dLbl>
              <c:idx val="1"/>
              <c:layout>
                <c:manualLayout>
                  <c:x val="0"/>
                  <c:y val="-6.4102564102564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B9A-484C-A6A5-6292E607DAC8}"/>
                </c:ext>
              </c:extLst>
            </c:dLbl>
            <c:dLbl>
              <c:idx val="2"/>
              <c:layout>
                <c:manualLayout>
                  <c:x val="0"/>
                  <c:y val="-6.4102564102564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B9A-484C-A6A5-6292E607DAC8}"/>
                </c:ext>
              </c:extLst>
            </c:dLbl>
            <c:dLbl>
              <c:idx val="3"/>
              <c:layout>
                <c:manualLayout>
                  <c:x val="0"/>
                  <c:y val="-6.4102564102564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B9A-484C-A6A5-6292E607DAC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2364</c:v>
                </c:pt>
                <c:pt idx="1">
                  <c:v>2990</c:v>
                </c:pt>
                <c:pt idx="2">
                  <c:v>3642</c:v>
                </c:pt>
                <c:pt idx="3">
                  <c:v>34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B9A-484C-A6A5-6292E607DAC8}"/>
            </c:ext>
          </c:extLst>
        </c:ser>
        <c:ser>
          <c:idx val="1"/>
          <c:order val="1"/>
          <c:spPr>
            <a:solidFill>
              <a:srgbClr val="0080FF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87</c:v>
                </c:pt>
                <c:pt idx="1">
                  <c:v>85</c:v>
                </c:pt>
                <c:pt idx="2">
                  <c:v>109</c:v>
                </c:pt>
                <c:pt idx="3">
                  <c:v>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9A-484C-A6A5-6292E607DA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332848447"/>
        <c:axId val="1"/>
      </c:barChart>
      <c:catAx>
        <c:axId val="3328484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75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3284844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953917050691243E-2"/>
          <c:y val="8.7689713322091065E-2"/>
          <c:w val="0.94009216589861755"/>
          <c:h val="0.8246205733558178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1E50A0"/>
            </a:solidFill>
            <a:ln>
              <a:noFill/>
            </a:ln>
          </c:spPr>
          <c:invertIfNegative val="0"/>
          <c:dLbls>
            <c:dLbl>
              <c:idx val="2"/>
              <c:layout>
                <c:manualLayout>
                  <c:x val="0"/>
                  <c:y val="-5.059021922428330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246-42A5-BA74-386EBC5D31C1}"/>
                </c:ext>
              </c:extLst>
            </c:dLbl>
            <c:dLbl>
              <c:idx val="3"/>
              <c:layout>
                <c:manualLayout>
                  <c:x val="0"/>
                  <c:y val="-5.059021922428330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246-42A5-BA74-386EBC5D31C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93</c:v>
                </c:pt>
                <c:pt idx="1">
                  <c:v>509</c:v>
                </c:pt>
                <c:pt idx="2">
                  <c:v>495</c:v>
                </c:pt>
                <c:pt idx="3">
                  <c:v>5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246-42A5-BA74-386EBC5D31C1}"/>
            </c:ext>
          </c:extLst>
        </c:ser>
        <c:ser>
          <c:idx val="1"/>
          <c:order val="1"/>
          <c:spPr>
            <a:solidFill>
              <a:srgbClr val="0080FF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62</c:v>
                </c:pt>
                <c:pt idx="1">
                  <c:v>73</c:v>
                </c:pt>
                <c:pt idx="2">
                  <c:v>73</c:v>
                </c:pt>
                <c:pt idx="3">
                  <c:v>1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246-42A5-BA74-386EBC5D31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99161151"/>
        <c:axId val="1"/>
      </c:barChart>
      <c:catAx>
        <c:axId val="1991611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5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91611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055150884495317E-2"/>
          <c:y val="8.4967320261437912E-2"/>
          <c:w val="0.94588969823100932"/>
          <c:h val="0.8300653594771242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1E50A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4.901960784313725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036-4120-92D8-4E0AC7229BD1}"/>
                </c:ext>
              </c:extLst>
            </c:dLbl>
            <c:dLbl>
              <c:idx val="1"/>
              <c:layout>
                <c:manualLayout>
                  <c:x val="0"/>
                  <c:y val="-4.901960784313725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036-4120-92D8-4E0AC7229BD1}"/>
                </c:ext>
              </c:extLst>
            </c:dLbl>
            <c:dLbl>
              <c:idx val="2"/>
              <c:layout>
                <c:manualLayout>
                  <c:x val="0"/>
                  <c:y val="-4.901960784313725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036-4120-92D8-4E0AC7229BD1}"/>
                </c:ext>
              </c:extLst>
            </c:dLbl>
            <c:dLbl>
              <c:idx val="3"/>
              <c:layout>
                <c:manualLayout>
                  <c:x val="0"/>
                  <c:y val="-6.535947712418300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036-4120-92D8-4E0AC7229BD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2235</c:v>
                </c:pt>
                <c:pt idx="1">
                  <c:v>2613</c:v>
                </c:pt>
                <c:pt idx="2">
                  <c:v>3604</c:v>
                </c:pt>
                <c:pt idx="3">
                  <c:v>27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036-4120-92D8-4E0AC7229BD1}"/>
            </c:ext>
          </c:extLst>
        </c:ser>
        <c:ser>
          <c:idx val="1"/>
          <c:order val="1"/>
          <c:spPr>
            <a:solidFill>
              <a:srgbClr val="0080FF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29</c:v>
                </c:pt>
                <c:pt idx="1">
                  <c:v>66</c:v>
                </c:pt>
                <c:pt idx="2">
                  <c:v>45</c:v>
                </c:pt>
                <c:pt idx="3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036-4120-92D8-4E0AC7229B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469224895"/>
        <c:axId val="1"/>
      </c:barChart>
      <c:catAx>
        <c:axId val="14692248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64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692248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41020924648337448"/>
          <c:y val="5.4216867469879519E-2"/>
          <c:w val="0.58772563176895309"/>
          <c:h val="0.843373493975903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May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c:spPr>
          <c:invertIfNegative val="0"/>
          <c:dLbls>
            <c:dLbl>
              <c:idx val="0"/>
              <c:layout>
                <c:manualLayout>
                  <c:x val="0.17950298463630782"/>
                  <c:y val="3.614647566644530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9AA-443C-8EA1-7306382336A9}"/>
                </c:ext>
              </c:extLst>
            </c:dLbl>
            <c:dLbl>
              <c:idx val="1"/>
              <c:layout>
                <c:manualLayout>
                  <c:x val="7.9779147906357331E-2"/>
                  <c:y val="2.409733421876482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9AA-443C-8EA1-7306382336A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Mild steel </c:v>
                </c:pt>
                <c:pt idx="1">
                  <c:v>HSD</c:v>
                </c:pt>
                <c:pt idx="2">
                  <c:v>Oil</c:v>
                </c:pt>
              </c:strCache>
            </c:strRef>
          </c:cat>
          <c:val>
            <c:numRef>
              <c:f>Sheet1!$B$2:$D$2</c:f>
              <c:numCache>
                <c:formatCode>General</c:formatCode>
                <c:ptCount val="3"/>
                <c:pt idx="0">
                  <c:v>-7.8</c:v>
                </c:pt>
                <c:pt idx="1">
                  <c:v>-17.03</c:v>
                </c:pt>
                <c:pt idx="2">
                  <c:v>-27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777-4F3B-AA48-EC22EB9618E4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June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</c:spPr>
          <c:invertIfNegative val="0"/>
          <c:dLbls>
            <c:dLbl>
              <c:idx val="0"/>
              <c:layout>
                <c:manualLayout>
                  <c:x val="0.19446189386598739"/>
                  <c:y val="1.205103880087278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9AA-443C-8EA1-7306382336A9}"/>
                </c:ext>
              </c:extLst>
            </c:dLbl>
            <c:dLbl>
              <c:idx val="1"/>
              <c:layout>
                <c:manualLayout>
                  <c:x val="7.4792583088474335E-2"/>
                  <c:y val="5.5220245625146956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9AA-443C-8EA1-7306382336A9}"/>
                </c:ext>
              </c:extLst>
            </c:dLbl>
            <c:dLbl>
              <c:idx val="2"/>
              <c:layout>
                <c:manualLayout>
                  <c:x val="-1.9943903599623721E-2"/>
                  <c:y val="1.8973531924071866E-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6BE-4DCC-9671-51989DA200C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Mild steel </c:v>
                </c:pt>
                <c:pt idx="1">
                  <c:v>HSD</c:v>
                </c:pt>
                <c:pt idx="2">
                  <c:v>Oil</c:v>
                </c:pt>
              </c:strCache>
            </c:strRef>
          </c:cat>
          <c:val>
            <c:numRef>
              <c:f>Sheet1!$B$3:$D$3</c:f>
              <c:numCache>
                <c:formatCode>General</c:formatCode>
                <c:ptCount val="3"/>
                <c:pt idx="0">
                  <c:v>-4.47</c:v>
                </c:pt>
                <c:pt idx="1">
                  <c:v>-18.59</c:v>
                </c:pt>
                <c:pt idx="2">
                  <c:v>-32.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B3F-49D8-8519-06091B761A1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0"/>
        <c:axId val="1067928007"/>
        <c:axId val="1"/>
      </c:barChart>
      <c:catAx>
        <c:axId val="1067928007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"/>
        <c:crosses val="min"/>
        <c:auto val="0"/>
        <c:lblAlgn val="ctr"/>
        <c:lblOffset val="1000"/>
        <c:noMultiLvlLbl val="0"/>
      </c:catAx>
      <c:valAx>
        <c:axId val="1"/>
        <c:scaling>
          <c:orientation val="minMax"/>
          <c:max val="72.41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1067928007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13559579972607E-3"/>
          <c:y val="6.4757160647571602E-2"/>
          <c:w val="0.98417288084005483"/>
          <c:h val="0.870485678704856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1E50A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4.98132004981320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FCE-4CBD-90EE-58774FA66411}"/>
                </c:ext>
              </c:extLst>
            </c:dLbl>
            <c:dLbl>
              <c:idx val="5"/>
              <c:layout>
                <c:manualLayout>
                  <c:x val="0"/>
                  <c:y val="-4.98132004981320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FCE-4CBD-90EE-58774FA664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18321</c:v>
                </c:pt>
                <c:pt idx="1">
                  <c:v>2818</c:v>
                </c:pt>
                <c:pt idx="2">
                  <c:v>3494</c:v>
                </c:pt>
                <c:pt idx="3">
                  <c:v>1284</c:v>
                </c:pt>
                <c:pt idx="4">
                  <c:v>654</c:v>
                </c:pt>
                <c:pt idx="5">
                  <c:v>265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FCE-4CBD-90EE-58774FA66411}"/>
            </c:ext>
          </c:extLst>
        </c:ser>
        <c:ser>
          <c:idx val="1"/>
          <c:order val="1"/>
          <c:spPr>
            <a:solidFill>
              <a:srgbClr val="0080FF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510</c:v>
                </c:pt>
                <c:pt idx="1">
                  <c:v>19</c:v>
                </c:pt>
                <c:pt idx="2">
                  <c:v>102</c:v>
                </c:pt>
                <c:pt idx="3">
                  <c:v>42</c:v>
                </c:pt>
                <c:pt idx="4">
                  <c:v>0</c:v>
                </c:pt>
                <c:pt idx="5">
                  <c:v>6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FCE-4CBD-90EE-58774FA664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476696255"/>
        <c:axId val="1"/>
      </c:barChart>
      <c:catAx>
        <c:axId val="47669625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724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7669625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979343863912511E-3"/>
          <c:y val="6.3106796116504854E-2"/>
          <c:w val="0.9842041312272175"/>
          <c:h val="0.87378640776699024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959A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C0D-4F4E-8DC8-DD10C50D6290}"/>
              </c:ext>
            </c:extLst>
          </c:dPt>
          <c:dLbls>
            <c:dLbl>
              <c:idx val="0"/>
              <c:layout>
                <c:manualLayout>
                  <c:x val="0"/>
                  <c:y val="-4.8543689320388345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C0D-4F4E-8DC8-DD10C50D629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16790</c:v>
                </c:pt>
                <c:pt idx="1">
                  <c:v>18831</c:v>
                </c:pt>
                <c:pt idx="2">
                  <c:v>21668</c:v>
                </c:pt>
                <c:pt idx="3">
                  <c:v>25264</c:v>
                </c:pt>
                <c:pt idx="4">
                  <c:v>26590</c:v>
                </c:pt>
                <c:pt idx="5">
                  <c:v>272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C0D-4F4E-8DC8-DD10C50D6290}"/>
            </c:ext>
          </c:extLst>
        </c:ser>
        <c:ser>
          <c:idx val="1"/>
          <c:order val="1"/>
          <c:spPr>
            <a:solidFill>
              <a:srgbClr val="2959A5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80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BC0D-4F4E-8DC8-DD10C50D6290}"/>
              </c:ext>
            </c:extLst>
          </c:dPt>
          <c:dLbls>
            <c:dLbl>
              <c:idx val="5"/>
              <c:layout>
                <c:manualLayout>
                  <c:x val="0"/>
                  <c:y val="-4.8543689320388345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C0D-4F4E-8DC8-DD10C50D629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2041</c:v>
                </c:pt>
                <c:pt idx="1">
                  <c:v>2778</c:v>
                </c:pt>
                <c:pt idx="2">
                  <c:v>3497</c:v>
                </c:pt>
                <c:pt idx="3">
                  <c:v>1188</c:v>
                </c:pt>
                <c:pt idx="4">
                  <c:v>553</c:v>
                </c:pt>
                <c:pt idx="5">
                  <c:v>248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C0D-4F4E-8DC8-DD10C50D6290}"/>
            </c:ext>
          </c:extLst>
        </c:ser>
        <c:ser>
          <c:idx val="2"/>
          <c:order val="2"/>
          <c:spPr>
            <a:solidFill>
              <a:srgbClr val="0080FF"/>
            </a:solidFill>
            <a:ln>
              <a:noFill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1">
                  <c:v>59</c:v>
                </c:pt>
                <c:pt idx="2">
                  <c:v>99</c:v>
                </c:pt>
                <c:pt idx="3">
                  <c:v>138</c:v>
                </c:pt>
                <c:pt idx="4">
                  <c:v>101</c:v>
                </c:pt>
                <c:pt idx="5">
                  <c:v>24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C0D-4F4E-8DC8-DD10C50D6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904714383"/>
        <c:axId val="1"/>
      </c:barChart>
      <c:catAx>
        <c:axId val="9047143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448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047143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242551910923872E-3"/>
          <c:y val="4.8552754435107377E-2"/>
          <c:w val="0.98435148961781527"/>
          <c:h val="0.9028944911297852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959A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B2A-4720-A8A7-46A688508466}"/>
              </c:ext>
            </c:extLst>
          </c:dPt>
          <c:dLbls>
            <c:dLbl>
              <c:idx val="0"/>
              <c:layout>
                <c:manualLayout>
                  <c:x val="0"/>
                  <c:y val="-2.8011204481792717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B2A-4720-A8A7-46A68850846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8865</c:v>
                </c:pt>
                <c:pt idx="1">
                  <c:v>10161</c:v>
                </c:pt>
                <c:pt idx="2">
                  <c:v>17027</c:v>
                </c:pt>
                <c:pt idx="3">
                  <c:v>17929</c:v>
                </c:pt>
                <c:pt idx="4">
                  <c:v>18348</c:v>
                </c:pt>
                <c:pt idx="5">
                  <c:v>18584</c:v>
                </c:pt>
                <c:pt idx="6">
                  <c:v>18734</c:v>
                </c:pt>
                <c:pt idx="7">
                  <c:v>18827</c:v>
                </c:pt>
                <c:pt idx="8">
                  <c:v>188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B2A-4720-A8A7-46A688508466}"/>
            </c:ext>
          </c:extLst>
        </c:ser>
        <c:ser>
          <c:idx val="1"/>
          <c:order val="1"/>
          <c:spPr>
            <a:solidFill>
              <a:srgbClr val="2959A5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80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1B2A-4720-A8A7-46A688508466}"/>
              </c:ext>
            </c:extLst>
          </c:dPt>
          <c:dLbls>
            <c:dLbl>
              <c:idx val="1"/>
              <c:layout>
                <c:manualLayout>
                  <c:x val="-1.7002708396027685E-2"/>
                  <c:y val="-2.8011204481792717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B2A-4720-A8A7-46A688508466}"/>
                </c:ext>
              </c:extLst>
            </c:dLbl>
            <c:dLbl>
              <c:idx val="8"/>
              <c:layout>
                <c:manualLayout>
                  <c:x val="0"/>
                  <c:y val="-2.8011204481792717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B2A-4720-A8A7-46A68850846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1296</c:v>
                </c:pt>
                <c:pt idx="1">
                  <c:v>6457</c:v>
                </c:pt>
                <c:pt idx="2">
                  <c:v>896</c:v>
                </c:pt>
                <c:pt idx="3">
                  <c:v>138</c:v>
                </c:pt>
                <c:pt idx="4">
                  <c:v>233</c:v>
                </c:pt>
                <c:pt idx="5">
                  <c:v>105</c:v>
                </c:pt>
                <c:pt idx="6">
                  <c:v>93</c:v>
                </c:pt>
                <c:pt idx="7">
                  <c:v>3</c:v>
                </c:pt>
                <c:pt idx="8">
                  <c:v>167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B2A-4720-A8A7-46A688508466}"/>
            </c:ext>
          </c:extLst>
        </c:ser>
        <c:ser>
          <c:idx val="2"/>
          <c:order val="2"/>
          <c:spPr>
            <a:solidFill>
              <a:srgbClr val="0080FF"/>
            </a:solidFill>
            <a:ln>
              <a:noFill/>
            </a:ln>
          </c:spPr>
          <c:invertIfNegative val="0"/>
          <c:val>
            <c:numRef>
              <c:f>Sheet1!$A$3:$I$3</c:f>
              <c:numCache>
                <c:formatCode>General</c:formatCode>
                <c:ptCount val="9"/>
                <c:pt idx="1">
                  <c:v>409</c:v>
                </c:pt>
                <c:pt idx="2">
                  <c:v>6</c:v>
                </c:pt>
                <c:pt idx="3">
                  <c:v>281</c:v>
                </c:pt>
                <c:pt idx="4">
                  <c:v>3</c:v>
                </c:pt>
                <c:pt idx="5">
                  <c:v>45</c:v>
                </c:pt>
                <c:pt idx="6">
                  <c:v>0</c:v>
                </c:pt>
                <c:pt idx="7">
                  <c:v>1</c:v>
                </c:pt>
                <c:pt idx="8">
                  <c:v>20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B2A-4720-A8A7-46A6885084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416843871"/>
        <c:axId val="1"/>
      </c:barChart>
      <c:catAx>
        <c:axId val="41684387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766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1684387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716318498334853E-3"/>
          <c:y val="5.5437100213219619E-2"/>
          <c:w val="0.98425673630033306"/>
          <c:h val="0.88912579957356075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959A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4C0-4B31-8FE5-E6B6B559387C}"/>
              </c:ext>
            </c:extLst>
          </c:dPt>
          <c:dLbls>
            <c:dLbl>
              <c:idx val="0"/>
              <c:layout>
                <c:manualLayout>
                  <c:x val="0"/>
                  <c:y val="-4.2643923240938165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4C0-4B31-8FE5-E6B6B559387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2939</c:v>
                </c:pt>
                <c:pt idx="1">
                  <c:v>2966</c:v>
                </c:pt>
                <c:pt idx="2">
                  <c:v>3159</c:v>
                </c:pt>
                <c:pt idx="3">
                  <c:v>3285</c:v>
                </c:pt>
                <c:pt idx="4">
                  <c:v>3372</c:v>
                </c:pt>
                <c:pt idx="5">
                  <c:v>3523</c:v>
                </c:pt>
                <c:pt idx="6">
                  <c:v>3555</c:v>
                </c:pt>
                <c:pt idx="7">
                  <c:v>3574</c:v>
                </c:pt>
                <c:pt idx="8">
                  <c:v>3589</c:v>
                </c:pt>
                <c:pt idx="9">
                  <c:v>35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4C0-4B31-8FE5-E6B6B559387C}"/>
            </c:ext>
          </c:extLst>
        </c:ser>
        <c:ser>
          <c:idx val="1"/>
          <c:order val="1"/>
          <c:spPr>
            <a:solidFill>
              <a:srgbClr val="2959A5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80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24C0-4B31-8FE5-E6B6B559387C}"/>
              </c:ext>
            </c:extLst>
          </c:dPt>
          <c:dLbls>
            <c:dLbl>
              <c:idx val="9"/>
              <c:layout>
                <c:manualLayout>
                  <c:x val="0"/>
                  <c:y val="-3.1982942430703624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4C0-4B31-8FE5-E6B6B559387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J$2</c:f>
              <c:numCache>
                <c:formatCode>General</c:formatCode>
                <c:ptCount val="10"/>
                <c:pt idx="0">
                  <c:v>27</c:v>
                </c:pt>
                <c:pt idx="1">
                  <c:v>125</c:v>
                </c:pt>
                <c:pt idx="2">
                  <c:v>126</c:v>
                </c:pt>
                <c:pt idx="3">
                  <c:v>86</c:v>
                </c:pt>
                <c:pt idx="4">
                  <c:v>151</c:v>
                </c:pt>
                <c:pt idx="5">
                  <c:v>29</c:v>
                </c:pt>
                <c:pt idx="6">
                  <c:v>19</c:v>
                </c:pt>
                <c:pt idx="7">
                  <c:v>15</c:v>
                </c:pt>
                <c:pt idx="8">
                  <c:v>7</c:v>
                </c:pt>
                <c:pt idx="9">
                  <c:v>34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4C0-4B31-8FE5-E6B6B559387C}"/>
            </c:ext>
          </c:extLst>
        </c:ser>
        <c:ser>
          <c:idx val="2"/>
          <c:order val="2"/>
          <c:spPr>
            <a:solidFill>
              <a:srgbClr val="0080FF"/>
            </a:solidFill>
            <a:ln>
              <a:noFill/>
            </a:ln>
          </c:spPr>
          <c:invertIfNegative val="0"/>
          <c:val>
            <c:numRef>
              <c:f>Sheet1!$A$3:$J$3</c:f>
              <c:numCache>
                <c:formatCode>General</c:formatCode>
                <c:ptCount val="10"/>
                <c:pt idx="1">
                  <c:v>68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3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4C0-4B31-8FE5-E6B6B55938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02970432"/>
        <c:axId val="1"/>
      </c:barChart>
      <c:catAx>
        <c:axId val="1029704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19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29704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55023923444976E-2"/>
          <c:y val="5.7205720572057209E-2"/>
          <c:w val="0.96889952153110048"/>
          <c:h val="0.8855885588558856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1E50A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36A-4DE9-B642-F20DE193AB2F}"/>
              </c:ext>
            </c:extLst>
          </c:dPt>
          <c:dLbls>
            <c:dLbl>
              <c:idx val="0"/>
              <c:layout>
                <c:manualLayout>
                  <c:x val="0"/>
                  <c:y val="-3.3003300330033004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36A-4DE9-B642-F20DE193AB2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1607</c:v>
                </c:pt>
                <c:pt idx="1">
                  <c:v>1619</c:v>
                </c:pt>
                <c:pt idx="2">
                  <c:v>2222</c:v>
                </c:pt>
                <c:pt idx="3">
                  <c:v>2496</c:v>
                </c:pt>
                <c:pt idx="4">
                  <c:v>2708</c:v>
                </c:pt>
                <c:pt idx="5">
                  <c:v>2803</c:v>
                </c:pt>
                <c:pt idx="6">
                  <c:v>28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6A-4DE9-B642-F20DE193AB2F}"/>
            </c:ext>
          </c:extLst>
        </c:ser>
        <c:ser>
          <c:idx val="1"/>
          <c:order val="1"/>
          <c:spPr>
            <a:solidFill>
              <a:srgbClr val="1E50A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80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D36A-4DE9-B642-F20DE193AB2F}"/>
              </c:ext>
            </c:extLst>
          </c:dPt>
          <c:dLbls>
            <c:dLbl>
              <c:idx val="1"/>
              <c:layout>
                <c:manualLayout>
                  <c:x val="0"/>
                  <c:y val="-4.4004400440044002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36A-4DE9-B642-F20DE193AB2F}"/>
                </c:ext>
              </c:extLst>
            </c:dLbl>
            <c:dLbl>
              <c:idx val="6"/>
              <c:layout>
                <c:manualLayout>
                  <c:x val="0"/>
                  <c:y val="-3.3003300330033004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36A-4DE9-B642-F20DE193AB2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12</c:v>
                </c:pt>
                <c:pt idx="1">
                  <c:v>572</c:v>
                </c:pt>
                <c:pt idx="2">
                  <c:v>263</c:v>
                </c:pt>
                <c:pt idx="3">
                  <c:v>209</c:v>
                </c:pt>
                <c:pt idx="4">
                  <c:v>94</c:v>
                </c:pt>
                <c:pt idx="5">
                  <c:v>33</c:v>
                </c:pt>
                <c:pt idx="6">
                  <c:v>27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36A-4DE9-B642-F20DE193AB2F}"/>
            </c:ext>
          </c:extLst>
        </c:ser>
        <c:ser>
          <c:idx val="2"/>
          <c:order val="2"/>
          <c:spPr>
            <a:solidFill>
              <a:srgbClr val="0080FF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6.5789473684210523E-2"/>
                  <c:y val="6.9306930693069313E-2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36A-4DE9-B642-F20DE193AB2F}"/>
                </c:ext>
              </c:extLst>
            </c:dLbl>
            <c:dLbl>
              <c:idx val="2"/>
              <c:layout>
                <c:manualLayout>
                  <c:x val="6.5789473684210523E-2"/>
                  <c:y val="7.0407040704070403E-2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36A-4DE9-B642-F20DE193AB2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G$3</c:f>
              <c:numCache>
                <c:formatCode>General</c:formatCode>
                <c:ptCount val="7"/>
                <c:pt idx="1">
                  <c:v>31</c:v>
                </c:pt>
                <c:pt idx="2">
                  <c:v>11</c:v>
                </c:pt>
                <c:pt idx="3">
                  <c:v>3</c:v>
                </c:pt>
                <c:pt idx="4">
                  <c:v>1</c:v>
                </c:pt>
                <c:pt idx="5">
                  <c:v>1</c:v>
                </c:pt>
                <c:pt idx="6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36A-4DE9-B642-F20DE193A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50442671"/>
        <c:axId val="1"/>
      </c:barChart>
      <c:catAx>
        <c:axId val="5044267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67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044267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081206496519721E-2"/>
          <c:y val="4.9476688867745006E-2"/>
          <c:w val="0.96983758700696054"/>
          <c:h val="0.90104662226451004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959A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F1C-4570-BD40-0129F98A3CDF}"/>
              </c:ext>
            </c:extLst>
          </c:dPt>
          <c:dLbls>
            <c:dLbl>
              <c:idx val="0"/>
              <c:layout>
                <c:manualLayout>
                  <c:x val="0"/>
                  <c:y val="-2.8544243577545195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F1C-4570-BD40-0129F98A3CD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464</c:v>
                </c:pt>
                <c:pt idx="1">
                  <c:v>580</c:v>
                </c:pt>
                <c:pt idx="2">
                  <c:v>1063</c:v>
                </c:pt>
                <c:pt idx="3">
                  <c:v>1190</c:v>
                </c:pt>
                <c:pt idx="4">
                  <c:v>1259</c:v>
                </c:pt>
                <c:pt idx="5">
                  <c:v>1289.9999999999998</c:v>
                </c:pt>
                <c:pt idx="6">
                  <c:v>1312</c:v>
                </c:pt>
                <c:pt idx="7">
                  <c:v>13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1C-4570-BD40-0129F98A3CDF}"/>
            </c:ext>
          </c:extLst>
        </c:ser>
        <c:ser>
          <c:idx val="1"/>
          <c:order val="1"/>
          <c:spPr>
            <a:solidFill>
              <a:srgbClr val="2959A5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80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AF1C-4570-BD40-0129F98A3CDF}"/>
              </c:ext>
            </c:extLst>
          </c:dPt>
          <c:dLbls>
            <c:dLbl>
              <c:idx val="1"/>
              <c:layout>
                <c:manualLayout>
                  <c:x val="0"/>
                  <c:y val="-2.8544243577545195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F1C-4570-BD40-0129F98A3CDF}"/>
                </c:ext>
              </c:extLst>
            </c:dLbl>
            <c:dLbl>
              <c:idx val="7"/>
              <c:layout>
                <c:manualLayout>
                  <c:x val="0"/>
                  <c:y val="-2.8544243577545195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F1C-4570-BD40-0129F98A3CD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H$2</c:f>
              <c:numCache>
                <c:formatCode>General</c:formatCode>
                <c:ptCount val="8"/>
                <c:pt idx="0">
                  <c:v>116</c:v>
                </c:pt>
                <c:pt idx="1">
                  <c:v>463</c:v>
                </c:pt>
                <c:pt idx="2">
                  <c:v>127</c:v>
                </c:pt>
                <c:pt idx="3">
                  <c:v>69</c:v>
                </c:pt>
                <c:pt idx="4">
                  <c:v>29</c:v>
                </c:pt>
                <c:pt idx="5">
                  <c:v>22</c:v>
                </c:pt>
                <c:pt idx="6">
                  <c:v>14</c:v>
                </c:pt>
                <c:pt idx="7">
                  <c:v>11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F1C-4570-BD40-0129F98A3CDF}"/>
            </c:ext>
          </c:extLst>
        </c:ser>
        <c:ser>
          <c:idx val="2"/>
          <c:order val="2"/>
          <c:spPr>
            <a:solidFill>
              <a:srgbClr val="0080FF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5.974477958236659E-2"/>
                  <c:y val="5.8039961941008564E-2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F1C-4570-BD40-0129F98A3CD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H$3</c:f>
              <c:numCache>
                <c:formatCode>General</c:formatCode>
                <c:ptCount val="8"/>
                <c:pt idx="1">
                  <c:v>20</c:v>
                </c:pt>
                <c:pt idx="2">
                  <c:v>0</c:v>
                </c:pt>
                <c:pt idx="3">
                  <c:v>0</c:v>
                </c:pt>
                <c:pt idx="4">
                  <c:v>2</c:v>
                </c:pt>
                <c:pt idx="5">
                  <c:v>0</c:v>
                </c:pt>
                <c:pt idx="6">
                  <c:v>0</c:v>
                </c:pt>
                <c:pt idx="7">
                  <c:v>1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F1C-4570-BD40-0129F98A3C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2021438911"/>
        <c:axId val="1"/>
      </c:barChart>
      <c:catAx>
        <c:axId val="20214389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5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214389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78721669655959E-3"/>
          <c:y val="5.5555555555555552E-2"/>
          <c:w val="0.98304255666068807"/>
          <c:h val="0.88888888888888884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959A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FB6-4BF4-ACF2-85AAD706C1B0}"/>
              </c:ext>
            </c:extLst>
          </c:dPt>
          <c:dLbls>
            <c:dLbl>
              <c:idx val="0"/>
              <c:layout>
                <c:manualLayout>
                  <c:x val="-1.3859448883091473E-2"/>
                  <c:y val="-3.205128205128205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FB6-4BF4-ACF2-85AAD706C1B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145</c:v>
                </c:pt>
                <c:pt idx="1">
                  <c:v>212</c:v>
                </c:pt>
                <c:pt idx="2">
                  <c:v>316</c:v>
                </c:pt>
                <c:pt idx="3">
                  <c:v>425</c:v>
                </c:pt>
                <c:pt idx="4">
                  <c:v>507</c:v>
                </c:pt>
                <c:pt idx="5">
                  <c:v>532</c:v>
                </c:pt>
                <c:pt idx="6">
                  <c:v>551</c:v>
                </c:pt>
                <c:pt idx="7">
                  <c:v>589</c:v>
                </c:pt>
                <c:pt idx="8">
                  <c:v>622</c:v>
                </c:pt>
                <c:pt idx="9">
                  <c:v>636</c:v>
                </c:pt>
                <c:pt idx="10">
                  <c:v>6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B6-4BF4-ACF2-85AAD706C1B0}"/>
            </c:ext>
          </c:extLst>
        </c:ser>
        <c:ser>
          <c:idx val="1"/>
          <c:order val="1"/>
          <c:spPr>
            <a:solidFill>
              <a:srgbClr val="2959A5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80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CFB6-4BF4-ACF2-85AAD706C1B0}"/>
              </c:ext>
            </c:extLst>
          </c:dPt>
          <c:dLbls>
            <c:dLbl>
              <c:idx val="10"/>
              <c:layout>
                <c:manualLayout>
                  <c:x val="0"/>
                  <c:y val="-3.205128205128205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FB6-4BF4-ACF2-85AAD706C1B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K$2</c:f>
              <c:numCache>
                <c:formatCode>General</c:formatCode>
                <c:ptCount val="11"/>
                <c:pt idx="0">
                  <c:v>67</c:v>
                </c:pt>
                <c:pt idx="1">
                  <c:v>103</c:v>
                </c:pt>
                <c:pt idx="2">
                  <c:v>98</c:v>
                </c:pt>
                <c:pt idx="3">
                  <c:v>80</c:v>
                </c:pt>
                <c:pt idx="4">
                  <c:v>22</c:v>
                </c:pt>
                <c:pt idx="5">
                  <c:v>17</c:v>
                </c:pt>
                <c:pt idx="6">
                  <c:v>29</c:v>
                </c:pt>
                <c:pt idx="7">
                  <c:v>27</c:v>
                </c:pt>
                <c:pt idx="8">
                  <c:v>14</c:v>
                </c:pt>
                <c:pt idx="9">
                  <c:v>18</c:v>
                </c:pt>
                <c:pt idx="10">
                  <c:v>5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FB6-4BF4-ACF2-85AAD706C1B0}"/>
            </c:ext>
          </c:extLst>
        </c:ser>
        <c:ser>
          <c:idx val="2"/>
          <c:order val="2"/>
          <c:spPr>
            <a:solidFill>
              <a:srgbClr val="0080FF"/>
            </a:solidFill>
            <a:ln>
              <a:noFill/>
            </a:ln>
          </c:spPr>
          <c:invertIfNegative val="0"/>
          <c:val>
            <c:numRef>
              <c:f>Sheet1!$A$3:$K$3</c:f>
              <c:numCache>
                <c:formatCode>General</c:formatCode>
                <c:ptCount val="11"/>
                <c:pt idx="1">
                  <c:v>1</c:v>
                </c:pt>
                <c:pt idx="2">
                  <c:v>11</c:v>
                </c:pt>
                <c:pt idx="3">
                  <c:v>2</c:v>
                </c:pt>
                <c:pt idx="4">
                  <c:v>3</c:v>
                </c:pt>
                <c:pt idx="5">
                  <c:v>2</c:v>
                </c:pt>
                <c:pt idx="6">
                  <c:v>9</c:v>
                </c:pt>
                <c:pt idx="7">
                  <c:v>6</c:v>
                </c:pt>
                <c:pt idx="8">
                  <c:v>0</c:v>
                </c:pt>
                <c:pt idx="9">
                  <c:v>0</c:v>
                </c:pt>
                <c:pt idx="10">
                  <c:v>1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FB6-4BF4-ACF2-85AAD706C1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772887968"/>
        <c:axId val="1"/>
      </c:barChart>
      <c:catAx>
        <c:axId val="7728879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0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728879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505183788878417E-2"/>
          <c:y val="3.1156381066506891E-2"/>
          <c:w val="0.95098963242224321"/>
          <c:h val="0.9376872378669862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959A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3966446974236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A1A-45C0-82D4-678CEC73A3EE}"/>
                </c:ext>
              </c:extLst>
            </c:dLbl>
            <c:dLbl>
              <c:idx val="1"/>
              <c:layout>
                <c:manualLayout>
                  <c:x val="0"/>
                  <c:y val="-2.3966446974236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A1A-45C0-82D4-678CEC73A3EE}"/>
                </c:ext>
              </c:extLst>
            </c:dLbl>
            <c:dLbl>
              <c:idx val="2"/>
              <c:layout>
                <c:manualLayout>
                  <c:x val="0"/>
                  <c:y val="-2.3966446974236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A1A-45C0-82D4-678CEC73A3E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6750</c:v>
                </c:pt>
                <c:pt idx="1">
                  <c:v>8118</c:v>
                </c:pt>
                <c:pt idx="2">
                  <c:v>79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A1A-45C0-82D4-678CEC73A3EE}"/>
            </c:ext>
          </c:extLst>
        </c:ser>
        <c:ser>
          <c:idx val="1"/>
          <c:order val="1"/>
          <c:spPr>
            <a:solidFill>
              <a:srgbClr val="0080F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2.995805871779508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A1A-45C0-82D4-678CEC73A3EE}"/>
                </c:ext>
              </c:extLst>
            </c:dLbl>
            <c:dLbl>
              <c:idx val="1"/>
              <c:layout>
                <c:manualLayout>
                  <c:x val="0"/>
                  <c:y val="-2.995805871779508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A1A-45C0-82D4-678CEC73A3EE}"/>
                </c:ext>
              </c:extLst>
            </c:dLbl>
            <c:dLbl>
              <c:idx val="2"/>
              <c:layout>
                <c:manualLayout>
                  <c:x val="0"/>
                  <c:y val="-2.39664469742360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A1A-45C0-82D4-678CEC73A3E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674</c:v>
                </c:pt>
                <c:pt idx="1">
                  <c:v>868</c:v>
                </c:pt>
                <c:pt idx="2">
                  <c:v>8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A1A-45C0-82D4-678CEC73A3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881942287"/>
        <c:axId val="1"/>
      </c:barChart>
      <c:catAx>
        <c:axId val="8819422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98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8194228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123309897241752E-2"/>
          <c:y val="0.10077519379844961"/>
          <c:w val="0.94375338020551647"/>
          <c:h val="0.798449612403100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959A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7.751937984496123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AF7-4832-9B1A-A0D69AAC2616}"/>
                </c:ext>
              </c:extLst>
            </c:dLbl>
            <c:dLbl>
              <c:idx val="1"/>
              <c:layout>
                <c:manualLayout>
                  <c:x val="0"/>
                  <c:y val="-5.813953488372092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AF7-4832-9B1A-A0D69AAC2616}"/>
                </c:ext>
              </c:extLst>
            </c:dLbl>
            <c:dLbl>
              <c:idx val="2"/>
              <c:layout>
                <c:manualLayout>
                  <c:x val="0"/>
                  <c:y val="-5.813953488372092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AF7-4832-9B1A-A0D69AAC261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4793</c:v>
                </c:pt>
                <c:pt idx="1">
                  <c:v>5332</c:v>
                </c:pt>
                <c:pt idx="2">
                  <c:v>53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AF7-4832-9B1A-A0D69AAC2616}"/>
            </c:ext>
          </c:extLst>
        </c:ser>
        <c:ser>
          <c:idx val="1"/>
          <c:order val="1"/>
          <c:spPr>
            <a:solidFill>
              <a:srgbClr val="0080FF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529</c:v>
                </c:pt>
                <c:pt idx="1">
                  <c:v>748</c:v>
                </c:pt>
                <c:pt idx="2">
                  <c:v>6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AF7-4832-9B1A-A0D69AAC26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904839183"/>
        <c:axId val="1"/>
      </c:barChart>
      <c:catAx>
        <c:axId val="9048391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8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048391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123309897241752E-2"/>
          <c:y val="0.12776412776412777"/>
          <c:w val="0.94375338020551647"/>
          <c:h val="0.7444717444717444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959A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7.371007371007371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169-493A-9EDF-3956C3BBCD04}"/>
                </c:ext>
              </c:extLst>
            </c:dLbl>
            <c:dLbl>
              <c:idx val="1"/>
              <c:layout>
                <c:manualLayout>
                  <c:x val="0"/>
                  <c:y val="-7.371007371007371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169-493A-9EDF-3956C3BBCD04}"/>
                </c:ext>
              </c:extLst>
            </c:dLbl>
            <c:dLbl>
              <c:idx val="2"/>
              <c:layout>
                <c:manualLayout>
                  <c:x val="0"/>
                  <c:y val="-7.371007371007371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169-493A-9EDF-3956C3BBCD0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713</c:v>
                </c:pt>
                <c:pt idx="1">
                  <c:v>1175</c:v>
                </c:pt>
                <c:pt idx="2">
                  <c:v>12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169-493A-9EDF-3956C3BBCD04}"/>
            </c:ext>
          </c:extLst>
        </c:ser>
        <c:ser>
          <c:idx val="1"/>
          <c:order val="1"/>
          <c:spPr>
            <a:solidFill>
              <a:srgbClr val="0080FF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36</c:v>
                </c:pt>
                <c:pt idx="1">
                  <c:v>46</c:v>
                </c:pt>
                <c:pt idx="2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169-493A-9EDF-3956C3BBCD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881913583"/>
        <c:axId val="1"/>
      </c:barChart>
      <c:catAx>
        <c:axId val="8819135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2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819135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312288613303268E-2"/>
          <c:y val="9.154929577464789E-2"/>
          <c:w val="0.94137542277339348"/>
          <c:h val="0.8169014084507042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1E50A0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5D90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AC8-4675-A922-5153A5AC0A75}"/>
              </c:ext>
            </c:extLst>
          </c:dPt>
          <c:dLbls>
            <c:dLbl>
              <c:idx val="3"/>
              <c:layout>
                <c:manualLayout>
                  <c:x val="0"/>
                  <c:y val="-0.2676056338028168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AC8-4675-A922-5153A5AC0A7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-6.6000000000000005</c:v>
                </c:pt>
                <c:pt idx="1">
                  <c:v>8.9</c:v>
                </c:pt>
                <c:pt idx="2">
                  <c:v>7.1999999999999993</c:v>
                </c:pt>
                <c:pt idx="3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AC8-4675-A922-5153A5AC0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556445343"/>
        <c:axId val="1"/>
      </c:barChart>
      <c:catAx>
        <c:axId val="15564453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8.9"/>
          <c:min val="-6.6000000000000005"/>
        </c:scaling>
        <c:delete val="1"/>
        <c:axPos val="l"/>
        <c:numFmt formatCode="General" sourceLinked="1"/>
        <c:majorTickMark val="out"/>
        <c:minorTickMark val="none"/>
        <c:tickLblPos val="nextTo"/>
        <c:crossAx val="155644534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123309897241752E-2"/>
          <c:y val="0.10077519379844961"/>
          <c:w val="0.94375338020551647"/>
          <c:h val="0.798449612403100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959A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5.813953488372092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0F5-423B-88A2-A9EA790B5BBF}"/>
                </c:ext>
              </c:extLst>
            </c:dLbl>
            <c:dLbl>
              <c:idx val="1"/>
              <c:layout>
                <c:manualLayout>
                  <c:x val="0"/>
                  <c:y val="-7.751937984496123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0F5-423B-88A2-A9EA790B5BBF}"/>
                </c:ext>
              </c:extLst>
            </c:dLbl>
            <c:dLbl>
              <c:idx val="2"/>
              <c:layout>
                <c:manualLayout>
                  <c:x val="0"/>
                  <c:y val="-5.813953488372092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0F5-423B-88A2-A9EA790B5BB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92</c:v>
                </c:pt>
                <c:pt idx="1">
                  <c:v>400</c:v>
                </c:pt>
                <c:pt idx="2">
                  <c:v>3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0F5-423B-88A2-A9EA790B5BBF}"/>
            </c:ext>
          </c:extLst>
        </c:ser>
        <c:ser>
          <c:idx val="1"/>
          <c:order val="1"/>
          <c:spPr>
            <a:solidFill>
              <a:srgbClr val="0080FF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42</c:v>
                </c:pt>
                <c:pt idx="1">
                  <c:v>26</c:v>
                </c:pt>
                <c:pt idx="2">
                  <c:v>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0F5-423B-88A2-A9EA790B5B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782413472"/>
        <c:axId val="1"/>
      </c:barChart>
      <c:catAx>
        <c:axId val="7824134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2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824134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123309897241752E-2"/>
          <c:y val="0.13648293963254593"/>
          <c:w val="0.94375338020551647"/>
          <c:h val="0.7270341207349081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959A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7.87401574803149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161-4B31-AAD5-34DAA41F91C7}"/>
                </c:ext>
              </c:extLst>
            </c:dLbl>
            <c:dLbl>
              <c:idx val="1"/>
              <c:layout>
                <c:manualLayout>
                  <c:x val="0"/>
                  <c:y val="-7.87401574803149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161-4B31-AAD5-34DAA41F91C7}"/>
                </c:ext>
              </c:extLst>
            </c:dLbl>
            <c:dLbl>
              <c:idx val="2"/>
              <c:layout>
                <c:manualLayout>
                  <c:x val="0"/>
                  <c:y val="-7.87401574803149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161-4B31-AAD5-34DAA41F91C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835</c:v>
                </c:pt>
                <c:pt idx="1">
                  <c:v>1026</c:v>
                </c:pt>
                <c:pt idx="2">
                  <c:v>8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161-4B31-AAD5-34DAA41F91C7}"/>
            </c:ext>
          </c:extLst>
        </c:ser>
        <c:ser>
          <c:idx val="1"/>
          <c:order val="1"/>
          <c:spPr>
            <a:solidFill>
              <a:srgbClr val="0080FF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35</c:v>
                </c:pt>
                <c:pt idx="1">
                  <c:v>18</c:v>
                </c:pt>
                <c:pt idx="2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161-4B31-AAD5-34DAA41F91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154874672"/>
        <c:axId val="1"/>
      </c:barChart>
      <c:catAx>
        <c:axId val="11548746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4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548746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123309897241752E-2"/>
          <c:y val="0.14730878186968838"/>
          <c:w val="0.94375338020551647"/>
          <c:h val="0.7053824362606232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959A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13314447592067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E50-4AC0-B0DB-F0C7B45CD311}"/>
                </c:ext>
              </c:extLst>
            </c:dLbl>
            <c:dLbl>
              <c:idx val="1"/>
              <c:layout>
                <c:manualLayout>
                  <c:x val="0"/>
                  <c:y val="-1.13314447592067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E50-4AC0-B0DB-F0C7B45CD311}"/>
                </c:ext>
              </c:extLst>
            </c:dLbl>
            <c:dLbl>
              <c:idx val="2"/>
              <c:layout>
                <c:manualLayout>
                  <c:x val="0"/>
                  <c:y val="-1.13314447592067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E50-4AC0-B0DB-F0C7B45CD3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17</c:v>
                </c:pt>
                <c:pt idx="1">
                  <c:v>185</c:v>
                </c:pt>
                <c:pt idx="2">
                  <c:v>1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E50-4AC0-B0DB-F0C7B45CD311}"/>
            </c:ext>
          </c:extLst>
        </c:ser>
        <c:ser>
          <c:idx val="1"/>
          <c:order val="1"/>
          <c:spPr>
            <a:solidFill>
              <a:srgbClr val="0080FF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32</c:v>
                </c:pt>
                <c:pt idx="1">
                  <c:v>30</c:v>
                </c:pt>
                <c:pt idx="2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E50-4AC0-B0DB-F0C7B45CD3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99179871"/>
        <c:axId val="1"/>
      </c:barChart>
      <c:catAx>
        <c:axId val="19917987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4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917987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233226837060702"/>
          <c:y val="2.4186046511627906E-2"/>
          <c:w val="0.61533546325878596"/>
          <c:h val="0.9516279069767441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1E50A0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1.395348837209302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57F-4223-A62A-7178579C4C86}"/>
                </c:ext>
              </c:extLst>
            </c:dLbl>
            <c:dLbl>
              <c:idx val="2"/>
              <c:layout>
                <c:manualLayout>
                  <c:x val="-6.3897763578274762E-4"/>
                  <c:y val="-1.395348837209302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57F-4223-A62A-7178579C4C86}"/>
                </c:ext>
              </c:extLst>
            </c:dLbl>
            <c:dLbl>
              <c:idx val="3"/>
              <c:layout>
                <c:manualLayout>
                  <c:x val="-6.3897763578274762E-4"/>
                  <c:y val="-1.395348837209302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57F-4223-A62A-7178579C4C8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461.1444444444442</c:v>
                </c:pt>
                <c:pt idx="1">
                  <c:v>1229</c:v>
                </c:pt>
                <c:pt idx="2">
                  <c:v>891</c:v>
                </c:pt>
                <c:pt idx="3">
                  <c:v>421</c:v>
                </c:pt>
                <c:pt idx="4">
                  <c:v>2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57F-4223-A62A-7178579C4C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2038303951"/>
        <c:axId val="1"/>
      </c:barChart>
      <c:catAx>
        <c:axId val="203830395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61.1444444444442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2038303951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60787504067686E-3"/>
          <c:y val="2.1311475409836064E-2"/>
          <c:w val="0.9830784249918646"/>
          <c:h val="0.95737704918032784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A42649"/>
              </a:solidFill>
              <a:prstDash val="solid"/>
            </a:ln>
          </c:spPr>
          <c:marker>
            <c:symbol val="none"/>
          </c:marker>
          <c:dLbls>
            <c:dLbl>
              <c:idx val="2"/>
              <c:layout>
                <c:manualLayout>
                  <c:x val="2.9612756264236904E-2"/>
                  <c:y val="-1.229508196721311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20E-4B9E-90DD-2AB95D8F38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8734</c:v>
                </c:pt>
                <c:pt idx="1">
                  <c:v>8118</c:v>
                </c:pt>
                <c:pt idx="2">
                  <c:v>7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20E-4B9E-90DD-2AB95D8F38B1}"/>
            </c:ext>
          </c:extLst>
        </c:ser>
        <c:ser>
          <c:idx val="1"/>
          <c:order val="1"/>
          <c:spPr>
            <a:ln w="28575" cmpd="sng" algn="ctr">
              <a:solidFill>
                <a:srgbClr val="1E50A0"/>
              </a:solidFill>
              <a:prstDash val="solid"/>
            </a:ln>
          </c:spPr>
          <c:marker>
            <c:symbol val="none"/>
          </c:marker>
          <c:dLbls>
            <c:dLbl>
              <c:idx val="3"/>
              <c:layout>
                <c:manualLayout>
                  <c:x val="0"/>
                  <c:y val="-4.139344262295081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20E-4B9E-90DD-2AB95D8F38B1}"/>
                </c:ext>
              </c:extLst>
            </c:dLbl>
            <c:dLbl>
              <c:idx val="4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20E-4B9E-90DD-2AB95D8F38B1}"/>
                </c:ext>
              </c:extLst>
            </c:dLbl>
            <c:dLbl>
              <c:idx val="6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20E-4B9E-90DD-2AB95D8F38B1}"/>
                </c:ext>
              </c:extLst>
            </c:dLbl>
            <c:dLbl>
              <c:idx val="7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20E-4B9E-90DD-2AB95D8F38B1}"/>
                </c:ext>
              </c:extLst>
            </c:dLbl>
            <c:dLbl>
              <c:idx val="8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20E-4B9E-90DD-2AB95D8F38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7622</c:v>
                </c:pt>
                <c:pt idx="1">
                  <c:v>6927</c:v>
                </c:pt>
                <c:pt idx="2">
                  <c:v>6750</c:v>
                </c:pt>
                <c:pt idx="3">
                  <c:v>6077</c:v>
                </c:pt>
                <c:pt idx="4">
                  <c:v>6130</c:v>
                </c:pt>
                <c:pt idx="5">
                  <c:v>9024</c:v>
                </c:pt>
                <c:pt idx="6">
                  <c:v>9163</c:v>
                </c:pt>
                <c:pt idx="7">
                  <c:v>8270</c:v>
                </c:pt>
                <c:pt idx="8">
                  <c:v>8132</c:v>
                </c:pt>
                <c:pt idx="9">
                  <c:v>10308</c:v>
                </c:pt>
                <c:pt idx="10">
                  <c:v>9819</c:v>
                </c:pt>
                <c:pt idx="11">
                  <c:v>115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420E-4B9E-90DD-2AB95D8F38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77236079"/>
        <c:axId val="1"/>
      </c:lineChart>
      <c:catAx>
        <c:axId val="16772360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677236079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749396038009342E-3"/>
          <c:y val="6.4996084573218482E-2"/>
          <c:w val="0.97310355934933157"/>
          <c:h val="0.91464369616288177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A42649"/>
              </a:solidFill>
              <a:prstDash val="solid"/>
            </a:ln>
          </c:spPr>
          <c:marker>
            <c:symbol val="none"/>
          </c:marker>
          <c:dLbls>
            <c:dLbl>
              <c:idx val="2"/>
              <c:layout>
                <c:manualLayout>
                  <c:x val="2.2386857787083266E-2"/>
                  <c:y val="-1.174628034455755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287-49F3-AC7B-5803798BE55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743</c:v>
                </c:pt>
                <c:pt idx="1">
                  <c:v>868</c:v>
                </c:pt>
                <c:pt idx="2">
                  <c:v>8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87-49F3-AC7B-5803798BE559}"/>
            </c:ext>
          </c:extLst>
        </c:ser>
        <c:ser>
          <c:idx val="1"/>
          <c:order val="1"/>
          <c:spPr>
            <a:ln w="28575" cmpd="sng" algn="ctr">
              <a:solidFill>
                <a:srgbClr val="1E50A0"/>
              </a:solidFill>
              <a:prstDash val="solid"/>
            </a:ln>
          </c:spPr>
          <c:marker>
            <c:symbol val="none"/>
          </c:marker>
          <c:dLbls>
            <c:dLbl>
              <c:idx val="4"/>
              <c:layout>
                <c:manualLayout>
                  <c:x val="0"/>
                  <c:y val="-3.954581049334377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287-49F3-AC7B-5803798BE559}"/>
                </c:ext>
              </c:extLst>
            </c:dLbl>
            <c:dLbl>
              <c:idx val="5"/>
              <c:layout>
                <c:manualLayout>
                  <c:x val="0"/>
                  <c:y val="3.71965544244322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287-49F3-AC7B-5803798BE559}"/>
                </c:ext>
              </c:extLst>
            </c:dLbl>
            <c:dLbl>
              <c:idx val="6"/>
              <c:layout>
                <c:manualLayout>
                  <c:x val="0"/>
                  <c:y val="3.71965544244322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287-49F3-AC7B-5803798BE559}"/>
                </c:ext>
              </c:extLst>
            </c:dLbl>
            <c:dLbl>
              <c:idx val="11"/>
              <c:layout>
                <c:manualLayout>
                  <c:x val="0"/>
                  <c:y val="-3.954581049334377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287-49F3-AC7B-5803798BE55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473</c:v>
                </c:pt>
                <c:pt idx="1">
                  <c:v>591</c:v>
                </c:pt>
                <c:pt idx="2">
                  <c:v>674</c:v>
                </c:pt>
                <c:pt idx="3">
                  <c:v>571</c:v>
                </c:pt>
                <c:pt idx="4">
                  <c:v>518</c:v>
                </c:pt>
                <c:pt idx="5">
                  <c:v>621</c:v>
                </c:pt>
                <c:pt idx="6">
                  <c:v>691</c:v>
                </c:pt>
                <c:pt idx="7">
                  <c:v>668</c:v>
                </c:pt>
                <c:pt idx="8">
                  <c:v>893</c:v>
                </c:pt>
                <c:pt idx="9">
                  <c:v>677</c:v>
                </c:pt>
                <c:pt idx="10">
                  <c:v>773</c:v>
                </c:pt>
                <c:pt idx="11">
                  <c:v>8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287-49F3-AC7B-5803798BE5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57054287"/>
        <c:axId val="1"/>
      </c:lineChart>
      <c:catAx>
        <c:axId val="4570542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57054287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60787504067686E-3"/>
          <c:y val="2.1311475409836064E-2"/>
          <c:w val="0.9830784249918646"/>
          <c:h val="0.95737704918032784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A42649"/>
              </a:solidFill>
              <a:prstDash val="solid"/>
            </a:ln>
          </c:spPr>
          <c:marker>
            <c:symbol val="none"/>
          </c:marker>
          <c:dLbls>
            <c:dLbl>
              <c:idx val="2"/>
              <c:layout>
                <c:manualLayout>
                  <c:x val="2.9612756264236904E-2"/>
                  <c:y val="-1.229508196721311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962-4298-903C-CDC558972A9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6127</c:v>
                </c:pt>
                <c:pt idx="1">
                  <c:v>5332</c:v>
                </c:pt>
                <c:pt idx="2">
                  <c:v>53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962-4298-903C-CDC558972A91}"/>
            </c:ext>
          </c:extLst>
        </c:ser>
        <c:ser>
          <c:idx val="1"/>
          <c:order val="1"/>
          <c:spPr>
            <a:ln w="28575" cmpd="sng" algn="ctr">
              <a:solidFill>
                <a:srgbClr val="1E50A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1.0901399284087211E-2"/>
                  <c:y val="-4.139344262295081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962-4298-903C-CDC558972A91}"/>
                </c:ext>
              </c:extLst>
            </c:dLbl>
            <c:dLbl>
              <c:idx val="1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962-4298-903C-CDC558972A91}"/>
                </c:ext>
              </c:extLst>
            </c:dLbl>
            <c:dLbl>
              <c:idx val="2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962-4298-903C-CDC558972A91}"/>
                </c:ext>
              </c:extLst>
            </c:dLbl>
            <c:dLbl>
              <c:idx val="6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962-4298-903C-CDC558972A91}"/>
                </c:ext>
              </c:extLst>
            </c:dLbl>
            <c:dLbl>
              <c:idx val="9"/>
              <c:layout>
                <c:manualLayout>
                  <c:x val="0"/>
                  <c:y val="-4.139344262295081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962-4298-903C-CDC558972A9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5122</c:v>
                </c:pt>
                <c:pt idx="1">
                  <c:v>4601</c:v>
                </c:pt>
                <c:pt idx="2">
                  <c:v>4793</c:v>
                </c:pt>
                <c:pt idx="3">
                  <c:v>4237</c:v>
                </c:pt>
                <c:pt idx="4">
                  <c:v>4501</c:v>
                </c:pt>
                <c:pt idx="5">
                  <c:v>6682</c:v>
                </c:pt>
                <c:pt idx="6">
                  <c:v>6859</c:v>
                </c:pt>
                <c:pt idx="7">
                  <c:v>5995</c:v>
                </c:pt>
                <c:pt idx="8">
                  <c:v>5332</c:v>
                </c:pt>
                <c:pt idx="9">
                  <c:v>7534</c:v>
                </c:pt>
                <c:pt idx="10">
                  <c:v>6745</c:v>
                </c:pt>
                <c:pt idx="11">
                  <c:v>81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7962-4298-903C-CDC558972A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41895951"/>
        <c:axId val="1"/>
      </c:lineChart>
      <c:catAx>
        <c:axId val="7418959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741895951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60787504067686E-3"/>
          <c:y val="2.1311475409836064E-2"/>
          <c:w val="0.9830784249918646"/>
          <c:h val="0.95737704918032784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A42649"/>
              </a:solidFill>
              <a:prstDash val="solid"/>
            </a:ln>
          </c:spPr>
          <c:marker>
            <c:symbol val="none"/>
          </c:marker>
          <c:dLbls>
            <c:dLbl>
              <c:idx val="2"/>
              <c:layout>
                <c:manualLayout>
                  <c:x val="2.2616335828180931E-2"/>
                  <c:y val="-1.229508196721311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96B-467F-A646-1D4216E1C09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603</c:v>
                </c:pt>
                <c:pt idx="1">
                  <c:v>748</c:v>
                </c:pt>
                <c:pt idx="2">
                  <c:v>6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96B-467F-A646-1D4216E1C09C}"/>
            </c:ext>
          </c:extLst>
        </c:ser>
        <c:ser>
          <c:idx val="1"/>
          <c:order val="1"/>
          <c:spPr>
            <a:ln w="28575" cmpd="sng" algn="ctr">
              <a:solidFill>
                <a:srgbClr val="1E50A0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-4.139344262295081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96B-467F-A646-1D4216E1C09C}"/>
                </c:ext>
              </c:extLst>
            </c:dLbl>
            <c:dLbl>
              <c:idx val="2"/>
              <c:layout>
                <c:manualLayout>
                  <c:x val="0"/>
                  <c:y val="-4.139344262295081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96B-467F-A646-1D4216E1C09C}"/>
                </c:ext>
              </c:extLst>
            </c:dLbl>
            <c:dLbl>
              <c:idx val="5"/>
              <c:layout>
                <c:manualLayout>
                  <c:x val="0"/>
                  <c:y val="-4.139344262295081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96B-467F-A646-1D4216E1C09C}"/>
                </c:ext>
              </c:extLst>
            </c:dLbl>
            <c:dLbl>
              <c:idx val="6"/>
              <c:layout>
                <c:manualLayout>
                  <c:x val="0"/>
                  <c:y val="-4.139344262295081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96B-467F-A646-1D4216E1C09C}"/>
                </c:ext>
              </c:extLst>
            </c:dLbl>
            <c:dLbl>
              <c:idx val="10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96B-467F-A646-1D4216E1C09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374</c:v>
                </c:pt>
                <c:pt idx="1">
                  <c:v>444</c:v>
                </c:pt>
                <c:pt idx="2">
                  <c:v>529</c:v>
                </c:pt>
                <c:pt idx="3">
                  <c:v>478</c:v>
                </c:pt>
                <c:pt idx="4">
                  <c:v>428</c:v>
                </c:pt>
                <c:pt idx="5">
                  <c:v>535</c:v>
                </c:pt>
                <c:pt idx="6">
                  <c:v>575</c:v>
                </c:pt>
                <c:pt idx="7">
                  <c:v>556</c:v>
                </c:pt>
                <c:pt idx="8">
                  <c:v>746</c:v>
                </c:pt>
                <c:pt idx="9">
                  <c:v>604</c:v>
                </c:pt>
                <c:pt idx="10">
                  <c:v>610</c:v>
                </c:pt>
                <c:pt idx="11">
                  <c:v>7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196B-467F-A646-1D4216E1C0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04881615"/>
        <c:axId val="1"/>
      </c:lineChart>
      <c:catAx>
        <c:axId val="9048816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904881615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833203792942641E-3"/>
          <c:y val="2.1311475409836064E-2"/>
          <c:w val="0.93921964868646046"/>
          <c:h val="0.95737704918032784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A42649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1.0415047411782993E-2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69C-4645-A38A-2D1C10831EAF}"/>
                </c:ext>
              </c:extLst>
            </c:dLbl>
            <c:dLbl>
              <c:idx val="1"/>
              <c:layout>
                <c:manualLayout>
                  <c:x val="3.0934245297683818E-2"/>
                  <c:y val="3.688524590163934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69C-4645-A38A-2D1C10831EAF}"/>
                </c:ext>
              </c:extLst>
            </c:dLbl>
            <c:dLbl>
              <c:idx val="2"/>
              <c:layout>
                <c:manualLayout>
                  <c:x val="2.8291621327529923E-2"/>
                  <c:y val="-1.229508196721311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69C-4645-A38A-2D1C10831EA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1116</c:v>
                </c:pt>
                <c:pt idx="1">
                  <c:v>1175</c:v>
                </c:pt>
                <c:pt idx="2">
                  <c:v>12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69C-4645-A38A-2D1C10831EAF}"/>
            </c:ext>
          </c:extLst>
        </c:ser>
        <c:ser>
          <c:idx val="1"/>
          <c:order val="1"/>
          <c:spPr>
            <a:ln w="28575" cmpd="sng" algn="ctr">
              <a:solidFill>
                <a:srgbClr val="2959A5"/>
              </a:solidFill>
              <a:prstDash val="solid"/>
            </a:ln>
          </c:spPr>
          <c:marker>
            <c:symbol val="none"/>
          </c:marker>
          <c:dLbls>
            <c:dLbl>
              <c:idx val="4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69C-4645-A38A-2D1C10831EAF}"/>
                </c:ext>
              </c:extLst>
            </c:dLbl>
            <c:dLbl>
              <c:idx val="11"/>
              <c:layout>
                <c:manualLayout>
                  <c:x val="2.8291621327529923E-2"/>
                  <c:y val="-1.229508196721311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69C-4645-A38A-2D1C10831EA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854</c:v>
                </c:pt>
                <c:pt idx="1">
                  <c:v>641</c:v>
                </c:pt>
                <c:pt idx="2">
                  <c:v>713</c:v>
                </c:pt>
                <c:pt idx="3">
                  <c:v>761</c:v>
                </c:pt>
                <c:pt idx="4">
                  <c:v>683</c:v>
                </c:pt>
                <c:pt idx="5">
                  <c:v>920</c:v>
                </c:pt>
                <c:pt idx="6">
                  <c:v>957</c:v>
                </c:pt>
                <c:pt idx="7">
                  <c:v>929</c:v>
                </c:pt>
                <c:pt idx="8">
                  <c:v>1104</c:v>
                </c:pt>
                <c:pt idx="9">
                  <c:v>1170</c:v>
                </c:pt>
                <c:pt idx="10">
                  <c:v>1208</c:v>
                </c:pt>
                <c:pt idx="11">
                  <c:v>12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69C-4645-A38A-2D1C10831E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03161855"/>
        <c:axId val="1"/>
      </c:lineChart>
      <c:catAx>
        <c:axId val="180316185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803161855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142394822006479E-3"/>
          <c:y val="2.1311475409836064E-2"/>
          <c:w val="0.97766990291262135"/>
          <c:h val="0.95737704918032784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A42649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1.2459546925566342E-2"/>
                  <c:y val="-1.229508196721311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2B2-4D26-B50C-86DF131B12B6}"/>
                </c:ext>
              </c:extLst>
            </c:dLbl>
            <c:dLbl>
              <c:idx val="1"/>
              <c:layout>
                <c:manualLayout>
                  <c:x val="1.7961165048543688E-2"/>
                  <c:y val="-1.229508196721311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2B2-4D26-B50C-86DF131B12B6}"/>
                </c:ext>
              </c:extLst>
            </c:dLbl>
            <c:dLbl>
              <c:idx val="2"/>
              <c:layout>
                <c:manualLayout>
                  <c:x val="1.7961165048543688E-2"/>
                  <c:y val="-1.229508196721311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2B2-4D26-B50C-86DF131B12B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30</c:v>
                </c:pt>
                <c:pt idx="1">
                  <c:v>46</c:v>
                </c:pt>
                <c:pt idx="2">
                  <c:v>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2B2-4D26-B50C-86DF131B12B6}"/>
            </c:ext>
          </c:extLst>
        </c:ser>
        <c:ser>
          <c:idx val="1"/>
          <c:order val="1"/>
          <c:spPr>
            <a:ln w="28575" cmpd="sng" algn="ctr">
              <a:solidFill>
                <a:srgbClr val="2959A5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1.2459546925566342E-2"/>
                  <c:y val="-1.229508196721311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2B2-4D26-B50C-86DF131B12B6}"/>
                </c:ext>
              </c:extLst>
            </c:dLbl>
            <c:dLbl>
              <c:idx val="1"/>
              <c:layout>
                <c:manualLayout>
                  <c:x val="0"/>
                  <c:y val="-4.139344262295081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2B2-4D26-B50C-86DF131B12B6}"/>
                </c:ext>
              </c:extLst>
            </c:dLbl>
            <c:dLbl>
              <c:idx val="2"/>
              <c:layout>
                <c:manualLayout>
                  <c:x val="0"/>
                  <c:y val="-4.139344262295081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2B2-4D26-B50C-86DF131B12B6}"/>
                </c:ext>
              </c:extLst>
            </c:dLbl>
            <c:dLbl>
              <c:idx val="3"/>
              <c:layout>
                <c:manualLayout>
                  <c:x val="0"/>
                  <c:y val="-4.139344262295081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C2B2-4D26-B50C-86DF131B12B6}"/>
                </c:ext>
              </c:extLst>
            </c:dLbl>
            <c:dLbl>
              <c:idx val="4"/>
              <c:layout>
                <c:manualLayout>
                  <c:x val="0"/>
                  <c:y val="-4.139344262295081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C2B2-4D26-B50C-86DF131B12B6}"/>
                </c:ext>
              </c:extLst>
            </c:dLbl>
            <c:dLbl>
              <c:idx val="5"/>
              <c:layout>
                <c:manualLayout>
                  <c:x val="0"/>
                  <c:y val="-4.139344262295081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C2B2-4D26-B50C-86DF131B12B6}"/>
                </c:ext>
              </c:extLst>
            </c:dLbl>
            <c:dLbl>
              <c:idx val="6"/>
              <c:layout>
                <c:manualLayout>
                  <c:x val="0"/>
                  <c:y val="-4.139344262295081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C2B2-4D26-B50C-86DF131B12B6}"/>
                </c:ext>
              </c:extLst>
            </c:dLbl>
            <c:dLbl>
              <c:idx val="8"/>
              <c:layout>
                <c:manualLayout>
                  <c:x val="0"/>
                  <c:y val="-4.139344262295081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C2B2-4D26-B50C-86DF131B12B6}"/>
                </c:ext>
              </c:extLst>
            </c:dLbl>
            <c:dLbl>
              <c:idx val="11"/>
              <c:layout>
                <c:manualLayout>
                  <c:x val="0"/>
                  <c:y val="-4.139344262295081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C2B2-4D26-B50C-86DF131B12B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18</c:v>
                </c:pt>
                <c:pt idx="1">
                  <c:v>32</c:v>
                </c:pt>
                <c:pt idx="2">
                  <c:v>36</c:v>
                </c:pt>
                <c:pt idx="3">
                  <c:v>25</c:v>
                </c:pt>
                <c:pt idx="4">
                  <c:v>31</c:v>
                </c:pt>
                <c:pt idx="5">
                  <c:v>31</c:v>
                </c:pt>
                <c:pt idx="6">
                  <c:v>27</c:v>
                </c:pt>
                <c:pt idx="7">
                  <c:v>20</c:v>
                </c:pt>
                <c:pt idx="8">
                  <c:v>38</c:v>
                </c:pt>
                <c:pt idx="9">
                  <c:v>23</c:v>
                </c:pt>
                <c:pt idx="10">
                  <c:v>30</c:v>
                </c:pt>
                <c:pt idx="11">
                  <c:v>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C2B2-4D26-B50C-86DF131B12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67230415"/>
        <c:axId val="1"/>
      </c:lineChart>
      <c:catAx>
        <c:axId val="6672304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667230415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587135788894998E-2"/>
          <c:y val="8.7837837837837843E-2"/>
          <c:w val="0.94282572842221002"/>
          <c:h val="0.8243243243243243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DC3E6"/>
            </a:solidFill>
            <a:ln>
              <a:solidFill>
                <a:schemeClr val="accent1">
                  <a:lumMod val="75000"/>
                </a:schemeClr>
              </a:solidFill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24B-4F62-8C6D-997E40D3EF2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3A6-40F1-9C19-C51C74BEBA1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669-4169-833D-F3E4459EA9D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669-4169-833D-F3E4459EA9D9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6.9</c:v>
                </c:pt>
                <c:pt idx="1">
                  <c:v>5.9</c:v>
                </c:pt>
                <c:pt idx="2">
                  <c:v>5.7</c:v>
                </c:pt>
                <c:pt idx="3">
                  <c:v>5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24B-4F62-8C6D-997E40D3EF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081457007"/>
        <c:axId val="1"/>
      </c:barChart>
      <c:catAx>
        <c:axId val="108145700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.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8145700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186690129579272E-3"/>
          <c:y val="2.1311475409836064E-2"/>
          <c:w val="0.96656534954407292"/>
          <c:h val="0.95737704918032784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A42649"/>
              </a:solidFill>
              <a:prstDash val="solid"/>
            </a:ln>
          </c:spPr>
          <c:marker>
            <c:symbol val="none"/>
          </c:marker>
          <c:dLbls>
            <c:dLbl>
              <c:idx val="2"/>
              <c:layout>
                <c:manualLayout>
                  <c:x val="0"/>
                  <c:y val="-4.139344262295081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234-4653-9D79-450B2936847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876</c:v>
                </c:pt>
                <c:pt idx="1">
                  <c:v>1026</c:v>
                </c:pt>
                <c:pt idx="2">
                  <c:v>8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234-4653-9D79-450B2936847E}"/>
            </c:ext>
          </c:extLst>
        </c:ser>
        <c:ser>
          <c:idx val="1"/>
          <c:order val="1"/>
          <c:spPr>
            <a:ln w="28575" cmpd="sng" algn="ctr">
              <a:solidFill>
                <a:srgbClr val="1E50A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1.0718285074388097E-2"/>
                  <c:y val="-4.139344262295081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234-4653-9D79-450B2936847E}"/>
                </c:ext>
              </c:extLst>
            </c:dLbl>
            <c:dLbl>
              <c:idx val="1"/>
              <c:layout>
                <c:manualLayout>
                  <c:x val="0"/>
                  <c:y val="-4.139344262295081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234-4653-9D79-450B2936847E}"/>
                </c:ext>
              </c:extLst>
            </c:dLbl>
            <c:dLbl>
              <c:idx val="2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234-4653-9D79-450B2936847E}"/>
                </c:ext>
              </c:extLst>
            </c:dLbl>
            <c:dLbl>
              <c:idx val="6"/>
              <c:layout>
                <c:manualLayout>
                  <c:x val="0"/>
                  <c:y val="-4.139344262295081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234-4653-9D79-450B2936847E}"/>
                </c:ext>
              </c:extLst>
            </c:dLbl>
            <c:dLbl>
              <c:idx val="10"/>
              <c:layout>
                <c:manualLayout>
                  <c:x val="0"/>
                  <c:y val="-4.139344262295081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234-4653-9D79-450B2936847E}"/>
                </c:ext>
              </c:extLst>
            </c:dLbl>
            <c:dLbl>
              <c:idx val="11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C234-4653-9D79-450B2936847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1125</c:v>
                </c:pt>
                <c:pt idx="1">
                  <c:v>1142</c:v>
                </c:pt>
                <c:pt idx="2">
                  <c:v>835</c:v>
                </c:pt>
                <c:pt idx="3">
                  <c:v>678</c:v>
                </c:pt>
                <c:pt idx="4">
                  <c:v>594</c:v>
                </c:pt>
                <c:pt idx="5">
                  <c:v>963</c:v>
                </c:pt>
                <c:pt idx="6">
                  <c:v>833</c:v>
                </c:pt>
                <c:pt idx="7">
                  <c:v>777</c:v>
                </c:pt>
                <c:pt idx="8">
                  <c:v>1003</c:v>
                </c:pt>
                <c:pt idx="9">
                  <c:v>1020</c:v>
                </c:pt>
                <c:pt idx="10">
                  <c:v>1241</c:v>
                </c:pt>
                <c:pt idx="11">
                  <c:v>13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C234-4653-9D79-450B293684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93982527"/>
        <c:axId val="1"/>
      </c:lineChart>
      <c:catAx>
        <c:axId val="119398252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193982527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525357607282189E-3"/>
          <c:y val="3.1630170316301706E-2"/>
          <c:w val="0.98211963589076723"/>
          <c:h val="0.94728304947283049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A42649"/>
              </a:solidFill>
              <a:prstDash val="solid"/>
            </a:ln>
          </c:spPr>
          <c:marker>
            <c:symbol val="none"/>
          </c:marker>
          <c:dLbls>
            <c:dLbl>
              <c:idx val="2"/>
              <c:layout>
                <c:manualLayout>
                  <c:x val="1.8042912873862157E-2"/>
                  <c:y val="-1.216545012165450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DD8-4809-8AB3-7CE01D83C2C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26</c:v>
                </c:pt>
                <c:pt idx="1">
                  <c:v>18</c:v>
                </c:pt>
                <c:pt idx="2">
                  <c:v>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DD8-4809-8AB3-7CE01D83C2CA}"/>
            </c:ext>
          </c:extLst>
        </c:ser>
        <c:ser>
          <c:idx val="1"/>
          <c:order val="1"/>
          <c:spPr>
            <a:ln w="28575" cmpd="sng" algn="ctr">
              <a:solidFill>
                <a:srgbClr val="1E50A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1.0890767230169051E-2"/>
                  <c:y val="3.852392538523925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DD8-4809-8AB3-7CE01D83C2CA}"/>
                </c:ext>
              </c:extLst>
            </c:dLbl>
            <c:dLbl>
              <c:idx val="1"/>
              <c:layout>
                <c:manualLayout>
                  <c:x val="0"/>
                  <c:y val="-4.095701540957015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DD8-4809-8AB3-7CE01D83C2CA}"/>
                </c:ext>
              </c:extLst>
            </c:dLbl>
            <c:dLbl>
              <c:idx val="2"/>
              <c:layout>
                <c:manualLayout>
                  <c:x val="0"/>
                  <c:y val="-4.095701540957015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DD8-4809-8AB3-7CE01D83C2CA}"/>
                </c:ext>
              </c:extLst>
            </c:dLbl>
            <c:dLbl>
              <c:idx val="4"/>
              <c:layout>
                <c:manualLayout>
                  <c:x val="0"/>
                  <c:y val="-4.095701540957015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DD8-4809-8AB3-7CE01D83C2CA}"/>
                </c:ext>
              </c:extLst>
            </c:dLbl>
            <c:dLbl>
              <c:idx val="6"/>
              <c:layout>
                <c:manualLayout>
                  <c:x val="0"/>
                  <c:y val="-4.095701540957015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DD8-4809-8AB3-7CE01D83C2CA}"/>
                </c:ext>
              </c:extLst>
            </c:dLbl>
            <c:dLbl>
              <c:idx val="8"/>
              <c:layout>
                <c:manualLayout>
                  <c:x val="0"/>
                  <c:y val="3.852392538523925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FDD8-4809-8AB3-7CE01D83C2CA}"/>
                </c:ext>
              </c:extLst>
            </c:dLbl>
            <c:dLbl>
              <c:idx val="9"/>
              <c:layout>
                <c:manualLayout>
                  <c:x val="0"/>
                  <c:y val="-4.095701540957015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FDD8-4809-8AB3-7CE01D83C2CA}"/>
                </c:ext>
              </c:extLst>
            </c:dLbl>
            <c:dLbl>
              <c:idx val="10"/>
              <c:layout>
                <c:manualLayout>
                  <c:x val="0"/>
                  <c:y val="-4.095701540957015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FDD8-4809-8AB3-7CE01D83C2CA}"/>
                </c:ext>
              </c:extLst>
            </c:dLbl>
            <c:dLbl>
              <c:idx val="11"/>
              <c:layout>
                <c:manualLayout>
                  <c:x val="0"/>
                  <c:y val="-4.095701540957015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FDD8-4809-8AB3-7CE01D83C2C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19</c:v>
                </c:pt>
                <c:pt idx="1">
                  <c:v>39</c:v>
                </c:pt>
                <c:pt idx="2">
                  <c:v>35</c:v>
                </c:pt>
                <c:pt idx="3">
                  <c:v>17</c:v>
                </c:pt>
                <c:pt idx="4">
                  <c:v>6</c:v>
                </c:pt>
                <c:pt idx="5">
                  <c:v>6</c:v>
                </c:pt>
                <c:pt idx="6">
                  <c:v>43</c:v>
                </c:pt>
                <c:pt idx="7">
                  <c:v>11</c:v>
                </c:pt>
                <c:pt idx="8">
                  <c:v>12</c:v>
                </c:pt>
                <c:pt idx="9">
                  <c:v>14</c:v>
                </c:pt>
                <c:pt idx="10">
                  <c:v>22</c:v>
                </c:pt>
                <c:pt idx="11">
                  <c:v>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FDD8-4809-8AB3-7CE01D83C2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69188703"/>
        <c:axId val="1"/>
      </c:lineChart>
      <c:catAx>
        <c:axId val="14691887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469188703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60787504067686E-3"/>
          <c:y val="2.1311475409836064E-2"/>
          <c:w val="0.9830784249918646"/>
          <c:h val="0.95737704918032784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A42649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1.0901399284087211E-2"/>
                  <c:y val="-4.139344262295081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074-4791-997D-E5E01EBBAAC5}"/>
                </c:ext>
              </c:extLst>
            </c:dLbl>
            <c:dLbl>
              <c:idx val="1"/>
              <c:layout>
                <c:manualLayout>
                  <c:x val="0"/>
                  <c:y val="-4.139344262295081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074-4791-997D-E5E01EBBAAC5}"/>
                </c:ext>
              </c:extLst>
            </c:dLbl>
            <c:dLbl>
              <c:idx val="2"/>
              <c:layout>
                <c:manualLayout>
                  <c:x val="0"/>
                  <c:y val="-4.139344262295081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074-4791-997D-E5E01EBBAAC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428</c:v>
                </c:pt>
                <c:pt idx="1">
                  <c:v>400</c:v>
                </c:pt>
                <c:pt idx="2">
                  <c:v>3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074-4791-997D-E5E01EBBAAC5}"/>
            </c:ext>
          </c:extLst>
        </c:ser>
        <c:ser>
          <c:idx val="1"/>
          <c:order val="1"/>
          <c:spPr>
            <a:ln w="28575" cmpd="sng" algn="ctr">
              <a:solidFill>
                <a:srgbClr val="1E50A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1.0901399284087211E-2"/>
                  <c:y val="-4.139344262295081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074-4791-997D-E5E01EBBAAC5}"/>
                </c:ext>
              </c:extLst>
            </c:dLbl>
            <c:dLbl>
              <c:idx val="2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074-4791-997D-E5E01EBBAAC5}"/>
                </c:ext>
              </c:extLst>
            </c:dLbl>
            <c:dLbl>
              <c:idx val="3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074-4791-997D-E5E01EBBAAC5}"/>
                </c:ext>
              </c:extLst>
            </c:dLbl>
            <c:dLbl>
              <c:idx val="4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074-4791-997D-E5E01EBBAAC5}"/>
                </c:ext>
              </c:extLst>
            </c:dLbl>
            <c:dLbl>
              <c:idx val="5"/>
              <c:layout>
                <c:manualLayout>
                  <c:x val="0"/>
                  <c:y val="-4.139344262295081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A074-4791-997D-E5E01EBBAAC5}"/>
                </c:ext>
              </c:extLst>
            </c:dLbl>
            <c:dLbl>
              <c:idx val="6"/>
              <c:layout>
                <c:manualLayout>
                  <c:x val="0"/>
                  <c:y val="-4.139344262295081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074-4791-997D-E5E01EBBAAC5}"/>
                </c:ext>
              </c:extLst>
            </c:dLbl>
            <c:dLbl>
              <c:idx val="9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074-4791-997D-E5E01EBBAAC5}"/>
                </c:ext>
              </c:extLst>
            </c:dLbl>
            <c:dLbl>
              <c:idx val="10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A074-4791-997D-E5E01EBBAAC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337</c:v>
                </c:pt>
                <c:pt idx="1">
                  <c:v>292</c:v>
                </c:pt>
                <c:pt idx="2">
                  <c:v>192</c:v>
                </c:pt>
                <c:pt idx="3">
                  <c:v>185</c:v>
                </c:pt>
                <c:pt idx="4">
                  <c:v>201</c:v>
                </c:pt>
                <c:pt idx="5">
                  <c:v>333</c:v>
                </c:pt>
                <c:pt idx="6">
                  <c:v>341</c:v>
                </c:pt>
                <c:pt idx="7">
                  <c:v>417</c:v>
                </c:pt>
                <c:pt idx="8">
                  <c:v>509</c:v>
                </c:pt>
                <c:pt idx="9">
                  <c:v>442</c:v>
                </c:pt>
                <c:pt idx="10">
                  <c:v>452</c:v>
                </c:pt>
                <c:pt idx="11">
                  <c:v>5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A074-4791-997D-E5E01EBBAA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3871055"/>
        <c:axId val="1"/>
      </c:lineChart>
      <c:catAx>
        <c:axId val="76387105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763871055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60787504067686E-3"/>
          <c:y val="4.1733547351524881E-2"/>
          <c:w val="0.9830784249918646"/>
          <c:h val="0.9373996789727127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A42649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1.0901399284087211E-2"/>
                  <c:y val="-4.052969502407704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047-4FA4-B0F8-1004F9C61106}"/>
                </c:ext>
              </c:extLst>
            </c:dLbl>
            <c:dLbl>
              <c:idx val="2"/>
              <c:layout>
                <c:manualLayout>
                  <c:x val="0"/>
                  <c:y val="-4.052969502407704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047-4FA4-B0F8-1004F9C6110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51</c:v>
                </c:pt>
                <c:pt idx="1">
                  <c:v>26</c:v>
                </c:pt>
                <c:pt idx="2">
                  <c:v>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047-4FA4-B0F8-1004F9C61106}"/>
            </c:ext>
          </c:extLst>
        </c:ser>
        <c:ser>
          <c:idx val="1"/>
          <c:order val="1"/>
          <c:spPr>
            <a:ln w="28575" cmpd="sng" algn="ctr">
              <a:solidFill>
                <a:srgbClr val="1E50A0"/>
              </a:solidFill>
              <a:prstDash val="solid"/>
            </a:ln>
          </c:spPr>
          <c:marker>
            <c:symbol val="none"/>
          </c:marker>
          <c:dLbls>
            <c:dLbl>
              <c:idx val="2"/>
              <c:layout>
                <c:manualLayout>
                  <c:x val="0"/>
                  <c:y val="3.812199036918138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047-4FA4-B0F8-1004F9C61106}"/>
                </c:ext>
              </c:extLst>
            </c:dLbl>
            <c:dLbl>
              <c:idx val="3"/>
              <c:layout>
                <c:manualLayout>
                  <c:x val="0"/>
                  <c:y val="3.812199036918138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047-4FA4-B0F8-1004F9C61106}"/>
                </c:ext>
              </c:extLst>
            </c:dLbl>
            <c:dLbl>
              <c:idx val="4"/>
              <c:layout>
                <c:manualLayout>
                  <c:x val="0"/>
                  <c:y val="-4.052969502407704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047-4FA4-B0F8-1004F9C61106}"/>
                </c:ext>
              </c:extLst>
            </c:dLbl>
            <c:dLbl>
              <c:idx val="5"/>
              <c:layout>
                <c:manualLayout>
                  <c:x val="0"/>
                  <c:y val="-4.052969502407704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047-4FA4-B0F8-1004F9C61106}"/>
                </c:ext>
              </c:extLst>
            </c:dLbl>
            <c:dLbl>
              <c:idx val="6"/>
              <c:layout>
                <c:manualLayout>
                  <c:x val="0"/>
                  <c:y val="3.812199036918138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F047-4FA4-B0F8-1004F9C61106}"/>
                </c:ext>
              </c:extLst>
            </c:dLbl>
            <c:dLbl>
              <c:idx val="7"/>
              <c:layout>
                <c:manualLayout>
                  <c:x val="0"/>
                  <c:y val="-4.052969502407704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F047-4FA4-B0F8-1004F9C61106}"/>
                </c:ext>
              </c:extLst>
            </c:dLbl>
            <c:dLbl>
              <c:idx val="10"/>
              <c:layout>
                <c:manualLayout>
                  <c:x val="0"/>
                  <c:y val="-4.052969502407704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F047-4FA4-B0F8-1004F9C6110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33</c:v>
                </c:pt>
                <c:pt idx="1">
                  <c:v>65</c:v>
                </c:pt>
                <c:pt idx="2">
                  <c:v>42</c:v>
                </c:pt>
                <c:pt idx="3">
                  <c:v>33</c:v>
                </c:pt>
                <c:pt idx="4">
                  <c:v>31</c:v>
                </c:pt>
                <c:pt idx="5">
                  <c:v>27</c:v>
                </c:pt>
                <c:pt idx="6">
                  <c:v>27</c:v>
                </c:pt>
                <c:pt idx="7">
                  <c:v>62</c:v>
                </c:pt>
                <c:pt idx="8">
                  <c:v>62</c:v>
                </c:pt>
                <c:pt idx="9">
                  <c:v>12</c:v>
                </c:pt>
                <c:pt idx="10">
                  <c:v>87</c:v>
                </c:pt>
                <c:pt idx="11">
                  <c:v>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F047-4FA4-B0F8-1004F9C611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82326944"/>
        <c:axId val="1"/>
      </c:lineChart>
      <c:catAx>
        <c:axId val="7823269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78232694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749396038009342E-3"/>
          <c:y val="2.1311475409836064E-2"/>
          <c:w val="0.97310355934933157"/>
          <c:h val="0.95737704918032784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A42649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D08-434D-8065-CBF6237A47C5}"/>
                </c:ext>
              </c:extLst>
            </c:dLbl>
            <c:dLbl>
              <c:idx val="2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D08-434D-8065-CBF6237A47C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187</c:v>
                </c:pt>
                <c:pt idx="1">
                  <c:v>185</c:v>
                </c:pt>
                <c:pt idx="2">
                  <c:v>1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D08-434D-8065-CBF6237A47C5}"/>
            </c:ext>
          </c:extLst>
        </c:ser>
        <c:ser>
          <c:idx val="1"/>
          <c:order val="1"/>
          <c:spPr>
            <a:ln w="28575" cmpd="sng" algn="ctr">
              <a:solidFill>
                <a:srgbClr val="1E50A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7.4086004187469802E-3"/>
                  <c:y val="5.69672131147540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D08-434D-8065-CBF6237A47C5}"/>
                </c:ext>
              </c:extLst>
            </c:dLbl>
            <c:dLbl>
              <c:idx val="2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D08-434D-8065-CBF6237A47C5}"/>
                </c:ext>
              </c:extLst>
            </c:dLbl>
            <c:dLbl>
              <c:idx val="4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D08-434D-8065-CBF6237A47C5}"/>
                </c:ext>
              </c:extLst>
            </c:dLbl>
            <c:dLbl>
              <c:idx val="5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D08-434D-8065-CBF6237A47C5}"/>
                </c:ext>
              </c:extLst>
            </c:dLbl>
            <c:dLbl>
              <c:idx val="7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D08-434D-8065-CBF6237A47C5}"/>
                </c:ext>
              </c:extLst>
            </c:dLbl>
            <c:dLbl>
              <c:idx val="9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D08-434D-8065-CBF6237A47C5}"/>
                </c:ext>
              </c:extLst>
            </c:dLbl>
            <c:dLbl>
              <c:idx val="10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D08-434D-8065-CBF6237A47C5}"/>
                </c:ext>
              </c:extLst>
            </c:dLbl>
            <c:dLbl>
              <c:idx val="11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BD08-434D-8065-CBF6237A47C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184</c:v>
                </c:pt>
                <c:pt idx="1">
                  <c:v>251</c:v>
                </c:pt>
                <c:pt idx="2">
                  <c:v>217</c:v>
                </c:pt>
                <c:pt idx="3">
                  <c:v>216</c:v>
                </c:pt>
                <c:pt idx="4">
                  <c:v>151</c:v>
                </c:pt>
                <c:pt idx="5">
                  <c:v>126</c:v>
                </c:pt>
                <c:pt idx="6">
                  <c:v>173</c:v>
                </c:pt>
                <c:pt idx="7">
                  <c:v>152</c:v>
                </c:pt>
                <c:pt idx="8">
                  <c:v>184</c:v>
                </c:pt>
                <c:pt idx="9">
                  <c:v>142</c:v>
                </c:pt>
                <c:pt idx="10">
                  <c:v>173</c:v>
                </c:pt>
                <c:pt idx="11">
                  <c:v>1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BD08-434D-8065-CBF6237A47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2461503"/>
        <c:axId val="1"/>
      </c:lineChart>
      <c:catAx>
        <c:axId val="424615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2461503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142394822006479E-3"/>
          <c:y val="2.1311475409836064E-2"/>
          <c:w val="0.97766990291262135"/>
          <c:h val="0.95737704918032784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A42649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1.0841423948220064E-2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10E-4030-9AAB-EC8F71674A4F}"/>
                </c:ext>
              </c:extLst>
            </c:dLbl>
            <c:dLbl>
              <c:idx val="1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10E-4030-9AAB-EC8F71674A4F}"/>
                </c:ext>
              </c:extLst>
            </c:dLbl>
            <c:dLbl>
              <c:idx val="2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10E-4030-9AAB-EC8F71674A4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33</c:v>
                </c:pt>
                <c:pt idx="1">
                  <c:v>30</c:v>
                </c:pt>
                <c:pt idx="2">
                  <c:v>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10E-4030-9AAB-EC8F71674A4F}"/>
            </c:ext>
          </c:extLst>
        </c:ser>
        <c:ser>
          <c:idx val="1"/>
          <c:order val="1"/>
          <c:spPr>
            <a:ln w="28575" cmpd="sng" algn="ctr">
              <a:solidFill>
                <a:srgbClr val="1E50A0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10E-4030-9AAB-EC8F71674A4F}"/>
                </c:ext>
              </c:extLst>
            </c:dLbl>
            <c:dLbl>
              <c:idx val="2"/>
              <c:layout>
                <c:manualLayout>
                  <c:x val="3.7216828478964402E-3"/>
                  <c:y val="8.401639344262294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10E-4030-9AAB-EC8F71674A4F}"/>
                </c:ext>
              </c:extLst>
            </c:dLbl>
            <c:dLbl>
              <c:idx val="3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10E-4030-9AAB-EC8F71674A4F}"/>
                </c:ext>
              </c:extLst>
            </c:dLbl>
            <c:dLbl>
              <c:idx val="4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10E-4030-9AAB-EC8F71674A4F}"/>
                </c:ext>
              </c:extLst>
            </c:dLbl>
            <c:dLbl>
              <c:idx val="5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10E-4030-9AAB-EC8F71674A4F}"/>
                </c:ext>
              </c:extLst>
            </c:dLbl>
            <c:dLbl>
              <c:idx val="6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D10E-4030-9AAB-EC8F71674A4F}"/>
                </c:ext>
              </c:extLst>
            </c:dLbl>
            <c:dLbl>
              <c:idx val="7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10E-4030-9AAB-EC8F71674A4F}"/>
                </c:ext>
              </c:extLst>
            </c:dLbl>
            <c:dLbl>
              <c:idx val="9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D10E-4030-9AAB-EC8F71674A4F}"/>
                </c:ext>
              </c:extLst>
            </c:dLbl>
            <c:dLbl>
              <c:idx val="10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D10E-4030-9AAB-EC8F71674A4F}"/>
                </c:ext>
              </c:extLst>
            </c:dLbl>
            <c:dLbl>
              <c:idx val="11"/>
              <c:layout>
                <c:manualLayout>
                  <c:x val="0"/>
                  <c:y val="3.89344262295081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D10E-4030-9AAB-EC8F71674A4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29</c:v>
                </c:pt>
                <c:pt idx="1">
                  <c:v>11</c:v>
                </c:pt>
                <c:pt idx="2">
                  <c:v>32</c:v>
                </c:pt>
                <c:pt idx="3">
                  <c:v>18</c:v>
                </c:pt>
                <c:pt idx="4">
                  <c:v>22</c:v>
                </c:pt>
                <c:pt idx="5">
                  <c:v>22</c:v>
                </c:pt>
                <c:pt idx="6">
                  <c:v>19</c:v>
                </c:pt>
                <c:pt idx="7">
                  <c:v>19</c:v>
                </c:pt>
                <c:pt idx="8">
                  <c:v>35</c:v>
                </c:pt>
                <c:pt idx="9">
                  <c:v>24</c:v>
                </c:pt>
                <c:pt idx="10">
                  <c:v>24</c:v>
                </c:pt>
                <c:pt idx="11">
                  <c:v>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D10E-4030-9AAB-EC8F71674A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19295119"/>
        <c:axId val="1"/>
      </c:lineChart>
      <c:catAx>
        <c:axId val="18192951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819295119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13559579972607E-3"/>
          <c:y val="6.4757160647571602E-2"/>
          <c:w val="0.98417288084005483"/>
          <c:h val="0.870485678704856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1E50A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4.98132004981320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6EB-4E6A-BE78-B7BBB0B2A208}"/>
                </c:ext>
              </c:extLst>
            </c:dLbl>
            <c:dLbl>
              <c:idx val="5"/>
              <c:layout>
                <c:manualLayout>
                  <c:x val="0"/>
                  <c:y val="-4.98132004981320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6EB-4E6A-BE78-B7BBB0B2A20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5830</c:v>
                </c:pt>
                <c:pt idx="1">
                  <c:v>884</c:v>
                </c:pt>
                <c:pt idx="2">
                  <c:v>1199</c:v>
                </c:pt>
                <c:pt idx="3">
                  <c:v>410</c:v>
                </c:pt>
                <c:pt idx="4">
                  <c:v>219</c:v>
                </c:pt>
                <c:pt idx="5">
                  <c:v>85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6EB-4E6A-BE78-B7BBB0B2A208}"/>
            </c:ext>
          </c:extLst>
        </c:ser>
        <c:ser>
          <c:idx val="1"/>
          <c:order val="1"/>
          <c:spPr>
            <a:solidFill>
              <a:srgbClr val="0080FF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191</c:v>
                </c:pt>
                <c:pt idx="1">
                  <c:v>7</c:v>
                </c:pt>
                <c:pt idx="2">
                  <c:v>30</c:v>
                </c:pt>
                <c:pt idx="3">
                  <c:v>11</c:v>
                </c:pt>
                <c:pt idx="4">
                  <c:v>0</c:v>
                </c:pt>
                <c:pt idx="5">
                  <c:v>2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6EB-4E6A-BE78-B7BBB0B2A2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370949263"/>
        <c:axId val="1"/>
      </c:barChart>
      <c:catAx>
        <c:axId val="3709492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78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709492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979343863912511E-3"/>
          <c:y val="6.3106796116504854E-2"/>
          <c:w val="0.9842041312272175"/>
          <c:h val="0.87378640776699024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959A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B82-421D-948B-BDB67F4D3FF0}"/>
              </c:ext>
            </c:extLst>
          </c:dPt>
          <c:dLbls>
            <c:dLbl>
              <c:idx val="0"/>
              <c:layout>
                <c:manualLayout>
                  <c:x val="0"/>
                  <c:y val="-6.0679611650485436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B82-421D-948B-BDB67F4D3FF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5331</c:v>
                </c:pt>
                <c:pt idx="1">
                  <c:v>6021</c:v>
                </c:pt>
                <c:pt idx="2">
                  <c:v>6912</c:v>
                </c:pt>
                <c:pt idx="3">
                  <c:v>8141</c:v>
                </c:pt>
                <c:pt idx="4">
                  <c:v>8562</c:v>
                </c:pt>
                <c:pt idx="5">
                  <c:v>87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B82-421D-948B-BDB67F4D3FF0}"/>
            </c:ext>
          </c:extLst>
        </c:ser>
        <c:ser>
          <c:idx val="1"/>
          <c:order val="1"/>
          <c:spPr>
            <a:solidFill>
              <a:srgbClr val="2959A5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80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3B82-421D-948B-BDB67F4D3FF0}"/>
              </c:ext>
            </c:extLst>
          </c:dPt>
          <c:dLbls>
            <c:dLbl>
              <c:idx val="5"/>
              <c:layout>
                <c:manualLayout>
                  <c:x val="0"/>
                  <c:y val="-4.8543689320388345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B82-421D-948B-BDB67F4D3FF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690</c:v>
                </c:pt>
                <c:pt idx="1">
                  <c:v>876</c:v>
                </c:pt>
                <c:pt idx="2">
                  <c:v>1206</c:v>
                </c:pt>
                <c:pt idx="3">
                  <c:v>360</c:v>
                </c:pt>
                <c:pt idx="4">
                  <c:v>181</c:v>
                </c:pt>
                <c:pt idx="5">
                  <c:v>79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B82-421D-948B-BDB67F4D3FF0}"/>
            </c:ext>
          </c:extLst>
        </c:ser>
        <c:ser>
          <c:idx val="2"/>
          <c:order val="2"/>
          <c:spPr>
            <a:solidFill>
              <a:srgbClr val="0080FF"/>
            </a:solidFill>
            <a:ln>
              <a:noFill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1">
                  <c:v>15</c:v>
                </c:pt>
                <c:pt idx="2">
                  <c:v>23</c:v>
                </c:pt>
                <c:pt idx="3">
                  <c:v>61</c:v>
                </c:pt>
                <c:pt idx="4">
                  <c:v>38</c:v>
                </c:pt>
                <c:pt idx="5">
                  <c:v>8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B82-421D-948B-BDB67F4D3F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99185695"/>
        <c:axId val="1"/>
      </c:barChart>
      <c:catAx>
        <c:axId val="1991856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56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91856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415584415584409E-3"/>
          <c:y val="4.8552754435107377E-2"/>
          <c:w val="0.98311688311688317"/>
          <c:h val="0.9028944911297852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959A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40D-4111-B286-CB9B039D1B89}"/>
              </c:ext>
            </c:extLst>
          </c:dPt>
          <c:dLbls>
            <c:dLbl>
              <c:idx val="0"/>
              <c:layout>
                <c:manualLayout>
                  <c:x val="0"/>
                  <c:y val="-2.8011204481792717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40D-4111-B286-CB9B039D1B8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2865</c:v>
                </c:pt>
                <c:pt idx="1">
                  <c:v>3309</c:v>
                </c:pt>
                <c:pt idx="2">
                  <c:v>5378</c:v>
                </c:pt>
                <c:pt idx="3">
                  <c:v>5676</c:v>
                </c:pt>
                <c:pt idx="4">
                  <c:v>5758</c:v>
                </c:pt>
                <c:pt idx="5">
                  <c:v>5815</c:v>
                </c:pt>
                <c:pt idx="6">
                  <c:v>5974</c:v>
                </c:pt>
                <c:pt idx="7">
                  <c:v>60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40D-4111-B286-CB9B039D1B89}"/>
            </c:ext>
          </c:extLst>
        </c:ser>
        <c:ser>
          <c:idx val="1"/>
          <c:order val="1"/>
          <c:spPr>
            <a:solidFill>
              <a:srgbClr val="2959A5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80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F40D-4111-B286-CB9B039D1B89}"/>
              </c:ext>
            </c:extLst>
          </c:dPt>
          <c:dLbls>
            <c:dLbl>
              <c:idx val="1"/>
              <c:layout>
                <c:manualLayout>
                  <c:x val="-1.9155844155844155E-2"/>
                  <c:y val="-3.7348272642390291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40D-4111-B286-CB9B039D1B89}"/>
                </c:ext>
              </c:extLst>
            </c:dLbl>
            <c:dLbl>
              <c:idx val="7"/>
              <c:layout>
                <c:manualLayout>
                  <c:x val="0"/>
                  <c:y val="-2.8011204481792717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40D-4111-B286-CB9B039D1B8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H$2</c:f>
              <c:numCache>
                <c:formatCode>General</c:formatCode>
                <c:ptCount val="8"/>
                <c:pt idx="0">
                  <c:v>444</c:v>
                </c:pt>
                <c:pt idx="1">
                  <c:v>1956</c:v>
                </c:pt>
                <c:pt idx="2">
                  <c:v>295</c:v>
                </c:pt>
                <c:pt idx="3">
                  <c:v>82</c:v>
                </c:pt>
                <c:pt idx="4">
                  <c:v>35</c:v>
                </c:pt>
                <c:pt idx="5">
                  <c:v>51</c:v>
                </c:pt>
                <c:pt idx="6">
                  <c:v>47</c:v>
                </c:pt>
                <c:pt idx="7">
                  <c:v>53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40D-4111-B286-CB9B039D1B89}"/>
            </c:ext>
          </c:extLst>
        </c:ser>
        <c:ser>
          <c:idx val="2"/>
          <c:order val="2"/>
          <c:spPr>
            <a:solidFill>
              <a:srgbClr val="0080FF"/>
            </a:solidFill>
            <a:ln>
              <a:noFill/>
            </a:ln>
          </c:spPr>
          <c:invertIfNegative val="0"/>
          <c:val>
            <c:numRef>
              <c:f>Sheet1!$A$3:$H$3</c:f>
              <c:numCache>
                <c:formatCode>General</c:formatCode>
                <c:ptCount val="8"/>
                <c:pt idx="1">
                  <c:v>113</c:v>
                </c:pt>
                <c:pt idx="2">
                  <c:v>3</c:v>
                </c:pt>
                <c:pt idx="3">
                  <c:v>0</c:v>
                </c:pt>
                <c:pt idx="4">
                  <c:v>22</c:v>
                </c:pt>
                <c:pt idx="5">
                  <c:v>108</c:v>
                </c:pt>
                <c:pt idx="6">
                  <c:v>0</c:v>
                </c:pt>
                <c:pt idx="7">
                  <c:v>6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40D-4111-B286-CB9B039D1B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677276015"/>
        <c:axId val="1"/>
      </c:barChart>
      <c:catAx>
        <c:axId val="16772760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04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772760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232058509827816E-3"/>
          <c:y val="6.540880503144654E-2"/>
          <c:w val="0.98415358829803445"/>
          <c:h val="0.86918238993710695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959A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25B-40A6-A261-8BCFCFD987D1}"/>
              </c:ext>
            </c:extLst>
          </c:dPt>
          <c:dLbls>
            <c:dLbl>
              <c:idx val="0"/>
              <c:layout>
                <c:manualLayout>
                  <c:x val="0"/>
                  <c:y val="-3.7735849056603774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25B-40A6-A261-8BCFCFD987D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1043</c:v>
                </c:pt>
                <c:pt idx="1">
                  <c:v>1050</c:v>
                </c:pt>
                <c:pt idx="2">
                  <c:v>1099</c:v>
                </c:pt>
                <c:pt idx="3">
                  <c:v>1127</c:v>
                </c:pt>
                <c:pt idx="4">
                  <c:v>1145</c:v>
                </c:pt>
                <c:pt idx="5">
                  <c:v>1199</c:v>
                </c:pt>
                <c:pt idx="6">
                  <c:v>1213</c:v>
                </c:pt>
                <c:pt idx="7">
                  <c:v>1219</c:v>
                </c:pt>
                <c:pt idx="8">
                  <c:v>1228</c:v>
                </c:pt>
                <c:pt idx="9">
                  <c:v>12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25B-40A6-A261-8BCFCFD987D1}"/>
            </c:ext>
          </c:extLst>
        </c:ser>
        <c:ser>
          <c:idx val="1"/>
          <c:order val="1"/>
          <c:spPr>
            <a:solidFill>
              <a:srgbClr val="2959A5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80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C25B-40A6-A261-8BCFCFD987D1}"/>
              </c:ext>
            </c:extLst>
          </c:dPt>
          <c:dLbls>
            <c:dLbl>
              <c:idx val="9"/>
              <c:layout>
                <c:manualLayout>
                  <c:x val="0"/>
                  <c:y val="-3.7735849056603774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25B-40A6-A261-8BCFCFD987D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J$2</c:f>
              <c:numCache>
                <c:formatCode>General</c:formatCode>
                <c:ptCount val="10"/>
                <c:pt idx="0">
                  <c:v>7</c:v>
                </c:pt>
                <c:pt idx="1">
                  <c:v>34</c:v>
                </c:pt>
                <c:pt idx="2">
                  <c:v>28</c:v>
                </c:pt>
                <c:pt idx="3">
                  <c:v>17</c:v>
                </c:pt>
                <c:pt idx="4">
                  <c:v>54</c:v>
                </c:pt>
                <c:pt idx="5">
                  <c:v>14</c:v>
                </c:pt>
                <c:pt idx="6">
                  <c:v>6</c:v>
                </c:pt>
                <c:pt idx="7">
                  <c:v>9</c:v>
                </c:pt>
                <c:pt idx="8">
                  <c:v>1</c:v>
                </c:pt>
                <c:pt idx="9">
                  <c:v>12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25B-40A6-A261-8BCFCFD987D1}"/>
            </c:ext>
          </c:extLst>
        </c:ser>
        <c:ser>
          <c:idx val="2"/>
          <c:order val="2"/>
          <c:spPr>
            <a:solidFill>
              <a:srgbClr val="0080FF"/>
            </a:solidFill>
            <a:ln>
              <a:noFill/>
            </a:ln>
          </c:spPr>
          <c:invertIfNegative val="0"/>
          <c:val>
            <c:numRef>
              <c:f>Sheet1!$A$3:$J$3</c:f>
              <c:numCache>
                <c:formatCode>General</c:formatCode>
                <c:ptCount val="10"/>
                <c:pt idx="1">
                  <c:v>15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25B-40A6-A261-8BCFCFD987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772880064"/>
        <c:axId val="1"/>
      </c:barChart>
      <c:catAx>
        <c:axId val="7728800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45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728800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411702688455455E-2"/>
          <c:y val="8.9041095890410954E-2"/>
          <c:w val="0.94517659462308912"/>
          <c:h val="0.82191780821917804"/>
        </c:manualLayout>
      </c:layout>
      <c:areaChart>
        <c:grouping val="standard"/>
        <c:varyColors val="0"/>
        <c:ser>
          <c:idx val="0"/>
          <c:order val="0"/>
          <c:spPr>
            <a:solidFill>
              <a:srgbClr val="1E50A0"/>
            </a:solidFill>
            <a:ln>
              <a:noFill/>
            </a:ln>
          </c:spPr>
          <c:dLbls>
            <c:dLbl>
              <c:idx val="0"/>
              <c:layout>
                <c:manualLayout>
                  <c:x val="2.8465998945703744E-2"/>
                  <c:y val="-5.136986301369862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DCD-47E6-8366-1B58CD330E97}"/>
                </c:ext>
              </c:extLst>
            </c:dLbl>
            <c:dLbl>
              <c:idx val="1"/>
              <c:layout>
                <c:manualLayout>
                  <c:x val="0"/>
                  <c:y val="-5.136986301369862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DCD-47E6-8366-1B58CD330E97}"/>
                </c:ext>
              </c:extLst>
            </c:dLbl>
            <c:dLbl>
              <c:idx val="2"/>
              <c:layout>
                <c:manualLayout>
                  <c:x val="0"/>
                  <c:y val="-5.136986301369862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DCD-47E6-8366-1B58CD330E97}"/>
                </c:ext>
              </c:extLst>
            </c:dLbl>
            <c:dLbl>
              <c:idx val="3"/>
              <c:layout>
                <c:manualLayout>
                  <c:x val="0"/>
                  <c:y val="-5.136986301369862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DCD-47E6-8366-1B58CD330E97}"/>
                </c:ext>
              </c:extLst>
            </c:dLbl>
            <c:dLbl>
              <c:idx val="4"/>
              <c:layout>
                <c:manualLayout>
                  <c:x val="0"/>
                  <c:y val="-5.136986301369862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DCD-47E6-8366-1B58CD330E97}"/>
                </c:ext>
              </c:extLst>
            </c:dLbl>
            <c:dLbl>
              <c:idx val="5"/>
              <c:layout>
                <c:manualLayout>
                  <c:x val="-2.8465998945703744E-2"/>
                  <c:y val="-5.136986301369862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DCD-47E6-8366-1B58CD330E9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55.7</c:v>
                </c:pt>
                <c:pt idx="1">
                  <c:v>57.8</c:v>
                </c:pt>
                <c:pt idx="2">
                  <c:v>55.4</c:v>
                </c:pt>
                <c:pt idx="3">
                  <c:v>56.4</c:v>
                </c:pt>
                <c:pt idx="4">
                  <c:v>57.2</c:v>
                </c:pt>
                <c:pt idx="5">
                  <c:v>58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DCD-47E6-8366-1B58CD330E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79370223"/>
        <c:axId val="1"/>
      </c:areaChart>
      <c:catAx>
        <c:axId val="4793702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"/>
          <c:min val="5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479370223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720257234726688E-2"/>
          <c:y val="5.7205720572057209E-2"/>
          <c:w val="0.9665594855305466"/>
          <c:h val="0.8855885588558856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1E50A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BCB-4B00-87FF-D43E4208E6AA}"/>
              </c:ext>
            </c:extLst>
          </c:dPt>
          <c:dLbls>
            <c:dLbl>
              <c:idx val="0"/>
              <c:layout>
                <c:manualLayout>
                  <c:x val="0"/>
                  <c:y val="-3.3003300330033004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BCB-4B00-87FF-D43E4208E6A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472</c:v>
                </c:pt>
                <c:pt idx="1">
                  <c:v>472</c:v>
                </c:pt>
                <c:pt idx="2">
                  <c:v>694</c:v>
                </c:pt>
                <c:pt idx="3">
                  <c:v>778</c:v>
                </c:pt>
                <c:pt idx="4">
                  <c:v>842</c:v>
                </c:pt>
                <c:pt idx="5">
                  <c:v>880</c:v>
                </c:pt>
                <c:pt idx="6">
                  <c:v>8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BCB-4B00-87FF-D43E4208E6AA}"/>
            </c:ext>
          </c:extLst>
        </c:ser>
        <c:ser>
          <c:idx val="1"/>
          <c:order val="1"/>
          <c:spPr>
            <a:solidFill>
              <a:srgbClr val="1E50A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80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4BCB-4B00-87FF-D43E4208E6AA}"/>
              </c:ext>
            </c:extLst>
          </c:dPt>
          <c:dLbls>
            <c:dLbl>
              <c:idx val="6"/>
              <c:layout>
                <c:manualLayout>
                  <c:x val="0"/>
                  <c:y val="-3.3003300330033004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BCB-4B00-87FF-D43E4208E6A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0</c:v>
                </c:pt>
                <c:pt idx="1">
                  <c:v>212</c:v>
                </c:pt>
                <c:pt idx="2">
                  <c:v>80</c:v>
                </c:pt>
                <c:pt idx="3">
                  <c:v>63</c:v>
                </c:pt>
                <c:pt idx="4">
                  <c:v>38</c:v>
                </c:pt>
                <c:pt idx="5">
                  <c:v>11</c:v>
                </c:pt>
                <c:pt idx="6">
                  <c:v>8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BCB-4B00-87FF-D43E4208E6AA}"/>
            </c:ext>
          </c:extLst>
        </c:ser>
        <c:ser>
          <c:idx val="2"/>
          <c:order val="2"/>
          <c:spPr>
            <a:solidFill>
              <a:srgbClr val="0080FF"/>
            </a:solidFill>
            <a:ln>
              <a:noFill/>
            </a:ln>
          </c:spPr>
          <c:invertIfNegative val="0"/>
          <c:val>
            <c:numRef>
              <c:f>Sheet1!$A$3:$G$3</c:f>
              <c:numCache>
                <c:formatCode>General</c:formatCode>
                <c:ptCount val="7"/>
                <c:pt idx="1">
                  <c:v>10</c:v>
                </c:pt>
                <c:pt idx="2">
                  <c:v>4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BCB-4B00-87FF-D43E4208E6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72993279"/>
        <c:axId val="1"/>
      </c:barChart>
      <c:catAx>
        <c:axId val="1729932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8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29932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218027509511267E-2"/>
          <c:y val="4.9476688867745006E-2"/>
          <c:w val="0.96956394498097742"/>
          <c:h val="0.90104662226451004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959A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5B9-4F92-8589-04F75789E45C}"/>
              </c:ext>
            </c:extLst>
          </c:dPt>
          <c:dLbls>
            <c:dLbl>
              <c:idx val="0"/>
              <c:layout>
                <c:manualLayout>
                  <c:x val="0"/>
                  <c:y val="-2.8544243577545195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5B9-4F92-8589-04F75789E45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149</c:v>
                </c:pt>
                <c:pt idx="1">
                  <c:v>201</c:v>
                </c:pt>
                <c:pt idx="2">
                  <c:v>348</c:v>
                </c:pt>
                <c:pt idx="3">
                  <c:v>371</c:v>
                </c:pt>
                <c:pt idx="4">
                  <c:v>395</c:v>
                </c:pt>
                <c:pt idx="5">
                  <c:v>406</c:v>
                </c:pt>
                <c:pt idx="6">
                  <c:v>408</c:v>
                </c:pt>
                <c:pt idx="7">
                  <c:v>4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5B9-4F92-8589-04F75789E45C}"/>
            </c:ext>
          </c:extLst>
        </c:ser>
        <c:ser>
          <c:idx val="1"/>
          <c:order val="1"/>
          <c:spPr>
            <a:solidFill>
              <a:srgbClr val="2959A5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80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55B9-4F92-8589-04F75789E45C}"/>
              </c:ext>
            </c:extLst>
          </c:dPt>
          <c:dLbls>
            <c:dLbl>
              <c:idx val="1"/>
              <c:layout>
                <c:manualLayout>
                  <c:x val="0"/>
                  <c:y val="-2.8544243577545195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5B9-4F92-8589-04F75789E45C}"/>
                </c:ext>
              </c:extLst>
            </c:dLbl>
            <c:dLbl>
              <c:idx val="7"/>
              <c:layout>
                <c:manualLayout>
                  <c:x val="0"/>
                  <c:y val="-2.8544243577545195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5B9-4F92-8589-04F75789E45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H$2</c:f>
              <c:numCache>
                <c:formatCode>General</c:formatCode>
                <c:ptCount val="8"/>
                <c:pt idx="0">
                  <c:v>52</c:v>
                </c:pt>
                <c:pt idx="1">
                  <c:v>140</c:v>
                </c:pt>
                <c:pt idx="2">
                  <c:v>23</c:v>
                </c:pt>
                <c:pt idx="3">
                  <c:v>24</c:v>
                </c:pt>
                <c:pt idx="4">
                  <c:v>9</c:v>
                </c:pt>
                <c:pt idx="5">
                  <c:v>2</c:v>
                </c:pt>
                <c:pt idx="6">
                  <c:v>13</c:v>
                </c:pt>
                <c:pt idx="7">
                  <c:v>3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5B9-4F92-8589-04F75789E45C}"/>
            </c:ext>
          </c:extLst>
        </c:ser>
        <c:ser>
          <c:idx val="2"/>
          <c:order val="2"/>
          <c:spPr>
            <a:solidFill>
              <a:srgbClr val="0080FF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5.2677787532923619E-2"/>
                  <c:y val="5.8039961941008564E-2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5B9-4F92-8589-04F75789E45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H$3</c:f>
              <c:numCache>
                <c:formatCode>General</c:formatCode>
                <c:ptCount val="8"/>
                <c:pt idx="1">
                  <c:v>7</c:v>
                </c:pt>
                <c:pt idx="2">
                  <c:v>0</c:v>
                </c:pt>
                <c:pt idx="3">
                  <c:v>0</c:v>
                </c:pt>
                <c:pt idx="4">
                  <c:v>2</c:v>
                </c:pt>
                <c:pt idx="5">
                  <c:v>0</c:v>
                </c:pt>
                <c:pt idx="6">
                  <c:v>0</c:v>
                </c:pt>
                <c:pt idx="7">
                  <c:v>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5B9-4F92-8589-04F75789E4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73009503"/>
        <c:axId val="1"/>
      </c:barChart>
      <c:catAx>
        <c:axId val="1730095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4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300950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00360594259339E-3"/>
          <c:y val="6.1104582843713277E-2"/>
          <c:w val="0.9849992788114813"/>
          <c:h val="0.87779083431257343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959A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442-4476-B6B2-D36B6E9E678E}"/>
              </c:ext>
            </c:extLst>
          </c:dPt>
          <c:val>
            <c:numRef>
              <c:f>Sheet1!$A$1:$K$1</c:f>
              <c:numCache>
                <c:formatCode>General</c:formatCode>
                <c:ptCount val="11"/>
                <c:pt idx="0">
                  <c:v>45</c:v>
                </c:pt>
                <c:pt idx="1">
                  <c:v>69</c:v>
                </c:pt>
                <c:pt idx="2">
                  <c:v>103</c:v>
                </c:pt>
                <c:pt idx="3">
                  <c:v>141</c:v>
                </c:pt>
                <c:pt idx="4">
                  <c:v>166</c:v>
                </c:pt>
                <c:pt idx="5">
                  <c:v>174</c:v>
                </c:pt>
                <c:pt idx="6">
                  <c:v>183</c:v>
                </c:pt>
                <c:pt idx="7">
                  <c:v>196</c:v>
                </c:pt>
                <c:pt idx="8">
                  <c:v>209</c:v>
                </c:pt>
                <c:pt idx="9">
                  <c:v>214</c:v>
                </c:pt>
                <c:pt idx="10">
                  <c:v>2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442-4476-B6B2-D36B6E9E678E}"/>
            </c:ext>
          </c:extLst>
        </c:ser>
        <c:ser>
          <c:idx val="1"/>
          <c:order val="1"/>
          <c:spPr>
            <a:solidFill>
              <a:srgbClr val="2959A5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80F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3442-4476-B6B2-D36B6E9E678E}"/>
              </c:ext>
            </c:extLst>
          </c:dPt>
          <c:dLbls>
            <c:dLbl>
              <c:idx val="10"/>
              <c:layout>
                <c:manualLayout>
                  <c:x val="0"/>
                  <c:y val="-3.5252643948296123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442-4476-B6B2-D36B6E9E678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K$2</c:f>
              <c:numCache>
                <c:formatCode>General</c:formatCode>
                <c:ptCount val="11"/>
                <c:pt idx="0">
                  <c:v>24</c:v>
                </c:pt>
                <c:pt idx="1">
                  <c:v>34</c:v>
                </c:pt>
                <c:pt idx="2">
                  <c:v>32</c:v>
                </c:pt>
                <c:pt idx="3">
                  <c:v>25</c:v>
                </c:pt>
                <c:pt idx="4">
                  <c:v>8</c:v>
                </c:pt>
                <c:pt idx="5">
                  <c:v>8</c:v>
                </c:pt>
                <c:pt idx="6">
                  <c:v>10</c:v>
                </c:pt>
                <c:pt idx="7">
                  <c:v>9</c:v>
                </c:pt>
                <c:pt idx="8">
                  <c:v>5</c:v>
                </c:pt>
                <c:pt idx="9">
                  <c:v>5</c:v>
                </c:pt>
                <c:pt idx="10">
                  <c:v>1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442-4476-B6B2-D36B6E9E678E}"/>
            </c:ext>
          </c:extLst>
        </c:ser>
        <c:ser>
          <c:idx val="2"/>
          <c:order val="2"/>
          <c:spPr>
            <a:solidFill>
              <a:srgbClr val="0080FF"/>
            </a:solidFill>
            <a:ln>
              <a:noFill/>
            </a:ln>
          </c:spPr>
          <c:invertIfNegative val="0"/>
          <c:val>
            <c:numRef>
              <c:f>Sheet1!$A$3:$K$3</c:f>
              <c:numCache>
                <c:formatCode>General</c:formatCode>
                <c:ptCount val="11"/>
                <c:pt idx="1">
                  <c:v>0</c:v>
                </c:pt>
                <c:pt idx="2">
                  <c:v>6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3</c:v>
                </c:pt>
                <c:pt idx="7">
                  <c:v>4</c:v>
                </c:pt>
                <c:pt idx="8">
                  <c:v>0</c:v>
                </c:pt>
                <c:pt idx="9">
                  <c:v>0</c:v>
                </c:pt>
                <c:pt idx="10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442-4476-B6B2-D36B6E9E67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677189903"/>
        <c:axId val="1"/>
      </c:barChart>
      <c:catAx>
        <c:axId val="16771899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3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7718990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xport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36</c:v>
                </c:pt>
                <c:pt idx="1">
                  <c:v>37</c:v>
                </c:pt>
                <c:pt idx="2">
                  <c:v>42</c:v>
                </c:pt>
                <c:pt idx="3">
                  <c:v>35</c:v>
                </c:pt>
                <c:pt idx="4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9A6-43DC-81BC-2A4A1D5B71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mpor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52</c:v>
                </c:pt>
                <c:pt idx="1">
                  <c:v>53</c:v>
                </c:pt>
                <c:pt idx="2">
                  <c:v>60</c:v>
                </c:pt>
                <c:pt idx="3">
                  <c:v>50</c:v>
                </c:pt>
                <c:pt idx="4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9A6-43DC-81BC-2A4A1D5B71B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44694368"/>
        <c:axId val="444695680"/>
      </c:barChart>
      <c:catAx>
        <c:axId val="444694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695680"/>
        <c:crosses val="autoZero"/>
        <c:auto val="1"/>
        <c:lblAlgn val="ctr"/>
        <c:lblOffset val="100"/>
        <c:noMultiLvlLbl val="0"/>
      </c:catAx>
      <c:valAx>
        <c:axId val="4446956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6943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72600302941048"/>
          <c:y val="0.10526683484888762"/>
          <c:w val="0.84365600441646271"/>
          <c:h val="0.81296250357451361"/>
        </c:manualLayout>
      </c:layout>
      <c:lineChart>
        <c:grouping val="standard"/>
        <c:varyColors val="0"/>
        <c:ser>
          <c:idx val="0"/>
          <c:order val="0"/>
          <c:tx>
            <c:strRef>
              <c:f>Sheet2!$E$7</c:f>
              <c:strCache>
                <c:ptCount val="1"/>
                <c:pt idx="0">
                  <c:v>WPI</c:v>
                </c:pt>
              </c:strCache>
            </c:strRef>
          </c:tx>
          <c:spPr>
            <a:ln w="28575" cap="rnd">
              <a:solidFill>
                <a:srgbClr val="4CA6FF"/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layout>
                <c:manualLayout>
                  <c:x val="3.888888888888889E-2"/>
                  <c:y val="4.629629629629629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2A1-4329-A3D5-F6ACAC47C986}"/>
                </c:ext>
              </c:extLst>
            </c:dLbl>
            <c:dLbl>
              <c:idx val="3"/>
              <c:layout>
                <c:manualLayout>
                  <c:x val="0"/>
                  <c:y val="-2.77777777777778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2A1-4329-A3D5-F6ACAC47C98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F$6:$J$6</c:f>
              <c:strCache>
                <c:ptCount val="5"/>
                <c:pt idx="0">
                  <c:v>Feb</c:v>
                </c:pt>
                <c:pt idx="1">
                  <c:v>Mar</c:v>
                </c:pt>
                <c:pt idx="2">
                  <c:v>Apr</c:v>
                </c:pt>
                <c:pt idx="3">
                  <c:v>May</c:v>
                </c:pt>
                <c:pt idx="4">
                  <c:v>June</c:v>
                </c:pt>
              </c:strCache>
            </c:strRef>
          </c:cat>
          <c:val>
            <c:numRef>
              <c:f>Sheet2!$F$7:$J$7</c:f>
              <c:numCache>
                <c:formatCode>0.00</c:formatCode>
                <c:ptCount val="5"/>
                <c:pt idx="0">
                  <c:v>3.8540949759119023</c:v>
                </c:pt>
                <c:pt idx="1">
                  <c:v>1.4103425117528503</c:v>
                </c:pt>
                <c:pt idx="2">
                  <c:v>-0.78791858174656404</c:v>
                </c:pt>
                <c:pt idx="3">
                  <c:v>-3.4838709677419395</c:v>
                </c:pt>
                <c:pt idx="4">
                  <c:v>-4.1184041184041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2A1-4329-A3D5-F6ACAC47C986}"/>
            </c:ext>
          </c:extLst>
        </c:ser>
        <c:ser>
          <c:idx val="1"/>
          <c:order val="1"/>
          <c:tx>
            <c:strRef>
              <c:f>Sheet2!$E$8</c:f>
              <c:strCache>
                <c:ptCount val="1"/>
                <c:pt idx="0">
                  <c:v>CPI</c:v>
                </c:pt>
              </c:strCache>
            </c:strRef>
          </c:tx>
          <c:spPr>
            <a:ln w="28575" cap="rnd">
              <a:solidFill>
                <a:srgbClr val="1E50A0"/>
              </a:solidFill>
              <a:round/>
            </a:ln>
            <a:effectLst/>
          </c:spPr>
          <c:marker>
            <c:symbol val="none"/>
          </c:marker>
          <c:dLbls>
            <c:dLbl>
              <c:idx val="1"/>
              <c:layout>
                <c:manualLayout>
                  <c:x val="1.1649032090790294E-2"/>
                  <c:y val="-1.17596621365731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2A1-4329-A3D5-F6ACAC47C986}"/>
                </c:ext>
              </c:extLst>
            </c:dLbl>
            <c:dLbl>
              <c:idx val="2"/>
              <c:layout>
                <c:manualLayout>
                  <c:x val="-1.0185067526415994E-16"/>
                  <c:y val="-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2A1-4329-A3D5-F6ACAC47C986}"/>
                </c:ext>
              </c:extLst>
            </c:dLbl>
            <c:dLbl>
              <c:idx val="3"/>
              <c:layout>
                <c:manualLayout>
                  <c:x val="3.8830106969300979E-3"/>
                  <c:y val="-7.69452286791306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2A1-4329-A3D5-F6ACAC47C98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F$6:$J$6</c:f>
              <c:strCache>
                <c:ptCount val="5"/>
                <c:pt idx="0">
                  <c:v>Feb</c:v>
                </c:pt>
                <c:pt idx="1">
                  <c:v>Mar</c:v>
                </c:pt>
                <c:pt idx="2">
                  <c:v>Apr</c:v>
                </c:pt>
                <c:pt idx="3">
                  <c:v>May</c:v>
                </c:pt>
                <c:pt idx="4">
                  <c:v>June</c:v>
                </c:pt>
              </c:strCache>
            </c:strRef>
          </c:cat>
          <c:val>
            <c:numRef>
              <c:f>Sheet2!$F$8:$J$8</c:f>
              <c:numCache>
                <c:formatCode>0.00</c:formatCode>
                <c:ptCount val="5"/>
                <c:pt idx="0">
                  <c:v>6.441902468392545</c:v>
                </c:pt>
                <c:pt idx="1">
                  <c:v>5.6648777579010146</c:v>
                </c:pt>
                <c:pt idx="2">
                  <c:v>4.7031158142269254</c:v>
                </c:pt>
                <c:pt idx="3">
                  <c:v>4.3098427489807838</c:v>
                </c:pt>
                <c:pt idx="4">
                  <c:v>4.80880648899189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2A1-4329-A3D5-F6ACAC47C9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00674319"/>
        <c:axId val="1100670991"/>
      </c:lineChart>
      <c:catAx>
        <c:axId val="110067431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100670991"/>
        <c:crosses val="autoZero"/>
        <c:auto val="1"/>
        <c:lblAlgn val="ctr"/>
        <c:lblOffset val="100"/>
        <c:noMultiLvlLbl val="0"/>
      </c:catAx>
      <c:valAx>
        <c:axId val="1100670991"/>
        <c:scaling>
          <c:orientation val="minMax"/>
        </c:scaling>
        <c:delete val="0"/>
        <c:axPos val="l"/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006743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123309897241752E-2"/>
          <c:y val="0.10077519379844961"/>
          <c:w val="0.94375338020551647"/>
          <c:h val="0.798449612403100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959A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5.813953488372092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98F-480D-A1F6-8D5DDE4AFE45}"/>
                </c:ext>
              </c:extLst>
            </c:dLbl>
            <c:dLbl>
              <c:idx val="1"/>
              <c:layout>
                <c:manualLayout>
                  <c:x val="0"/>
                  <c:y val="-5.813953488372092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98F-480D-A1F6-8D5DDE4AFE45}"/>
                </c:ext>
              </c:extLst>
            </c:dLbl>
            <c:dLbl>
              <c:idx val="2"/>
              <c:layout>
                <c:manualLayout>
                  <c:x val="0"/>
                  <c:y val="-5.813953488372092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98F-480D-A1F6-8D5DDE4AFE4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9324</c:v>
                </c:pt>
                <c:pt idx="1">
                  <c:v>14516</c:v>
                </c:pt>
                <c:pt idx="2">
                  <c:v>167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98F-480D-A1F6-8D5DDE4AFE45}"/>
            </c:ext>
          </c:extLst>
        </c:ser>
        <c:ser>
          <c:idx val="1"/>
          <c:order val="1"/>
          <c:spPr>
            <a:solidFill>
              <a:srgbClr val="0080FF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1142</c:v>
                </c:pt>
                <c:pt idx="1">
                  <c:v>1347</c:v>
                </c:pt>
                <c:pt idx="2">
                  <c:v>20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98F-480D-A1F6-8D5DDE4AFE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469388383"/>
        <c:axId val="1"/>
      </c:barChart>
      <c:catAx>
        <c:axId val="14693883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883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693883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123309897241752E-2"/>
          <c:y val="0.12776412776412777"/>
          <c:w val="0.94375338020551647"/>
          <c:h val="0.7444717444717444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959A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7.371007371007371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E0D-45FC-A04C-6E5478A0F06D}"/>
                </c:ext>
              </c:extLst>
            </c:dLbl>
            <c:dLbl>
              <c:idx val="1"/>
              <c:layout>
                <c:manualLayout>
                  <c:x val="0"/>
                  <c:y val="-7.371007371007371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E0D-45FC-A04C-6E5478A0F06D}"/>
                </c:ext>
              </c:extLst>
            </c:dLbl>
            <c:dLbl>
              <c:idx val="2"/>
              <c:layout>
                <c:manualLayout>
                  <c:x val="0"/>
                  <c:y val="-9.828009828009827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E0D-45FC-A04C-6E5478A0F06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372</c:v>
                </c:pt>
                <c:pt idx="1">
                  <c:v>2208</c:v>
                </c:pt>
                <c:pt idx="2">
                  <c:v>34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E0D-45FC-A04C-6E5478A0F06D}"/>
            </c:ext>
          </c:extLst>
        </c:ser>
        <c:ser>
          <c:idx val="1"/>
          <c:order val="1"/>
          <c:spPr>
            <a:solidFill>
              <a:srgbClr val="0080F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3899405083829097"/>
                  <c:y val="-7.371007371007371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E0D-45FC-A04C-6E5478A0F06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28</c:v>
                </c:pt>
                <c:pt idx="1">
                  <c:v>86</c:v>
                </c:pt>
                <c:pt idx="2">
                  <c:v>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E0D-45FC-A04C-6E5478A0F0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469175807"/>
        <c:axId val="1"/>
      </c:barChart>
      <c:catAx>
        <c:axId val="146917580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9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6917580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3302</cdr:x>
      <cdr:y>0.10395</cdr:y>
    </cdr:from>
    <cdr:to>
      <cdr:x>0.4092</cdr:x>
      <cdr:y>0.1853</cdr:y>
    </cdr:to>
    <cdr:sp macro="" textlink="">
      <cdr:nvSpPr>
        <cdr:cNvPr id="2" name="Rectangle 1">
          <a:extLst xmlns:a="http://schemas.openxmlformats.org/drawingml/2006/main">
            <a:ext uri="{FF2B5EF4-FFF2-40B4-BE49-F238E27FC236}">
              <a16:creationId xmlns:a16="http://schemas.microsoft.com/office/drawing/2014/main" id="{4457490E-E659-F304-E05D-33F649B21499}"/>
            </a:ext>
          </a:extLst>
        </cdr:cNvPr>
        <cdr:cNvSpPr/>
      </cdr:nvSpPr>
      <cdr:spPr bwMode="gray">
        <a:xfrm xmlns:a="http://schemas.openxmlformats.org/drawingml/2006/main">
          <a:off x="848226" y="109572"/>
          <a:ext cx="194029" cy="85754"/>
        </a:xfrm>
        <a:prstGeom xmlns:a="http://schemas.openxmlformats.org/drawingml/2006/main" prst="rect">
          <a:avLst/>
        </a:prstGeom>
        <a:solidFill xmlns:a="http://schemas.openxmlformats.org/drawingml/2006/main">
          <a:srgbClr val="DAE6F2"/>
        </a:solidFill>
        <a:ln xmlns:a="http://schemas.openxmlformats.org/drawingml/2006/main" w="3175" cap="flat" cmpd="sng" algn="ctr">
          <a:noFill/>
          <a:prstDash val="solid"/>
          <a:miter lim="800000"/>
          <a:headEnd type="none" w="med" len="med"/>
          <a:tailEnd type="none" w="med" len="me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kumimoji="0" lang="en-US" sz="900" b="0" i="0" u="none" strike="noStrike" kern="1200" cap="none" spc="0" normalizeH="0" baseline="0" noProof="0" dirty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endParaRPr>
        </a:p>
      </cdr:txBody>
    </cdr:sp>
  </cdr:relSizeAnchor>
</c:userShape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16T17:52:57.634"/>
    </inkml:context>
    <inkml:brush xml:id="br0">
      <inkml:brushProperty name="width" value="0.025" units="cm"/>
      <inkml:brushProperty name="height" value="0.025" units="cm"/>
      <inkml:brushProperty name="color" value="#AB008B"/>
      <inkml:brushProperty name="ignorePressure" value="1"/>
    </inkml:brush>
  </inkml:definitions>
  <inkml:trace contextRef="#ctx0" brushRef="#br0">1 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16T17:53:04.310"/>
    </inkml:context>
    <inkml:brush xml:id="br0">
      <inkml:brushProperty name="width" value="0.025" units="cm"/>
      <inkml:brushProperty name="height" value="0.025" units="cm"/>
      <inkml:brushProperty name="color" value="#AB008B"/>
      <inkml:brushProperty name="ignorePressure" value="1"/>
    </inkml:brush>
  </inkml:definitions>
  <inkml:trace contextRef="#ctx0" brushRef="#br0">1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5-18T11:22:40.599"/>
    </inkml:context>
    <inkml:brush xml:id="br0">
      <inkml:brushProperty name="width" value="0.1" units="cm"/>
      <inkml:brushProperty name="height" value="0.1" units="cm"/>
      <inkml:brushProperty name="color" value="#AB008B"/>
      <inkml:brushProperty name="ignorePressure" value="1"/>
    </inkml:brush>
  </inkml:definitions>
  <inkml:trace contextRef="#ctx0" brushRef="#br0">0 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16T17:52:57.634"/>
    </inkml:context>
    <inkml:brush xml:id="br0">
      <inkml:brushProperty name="width" value="0.025" units="cm"/>
      <inkml:brushProperty name="height" value="0.025" units="cm"/>
      <inkml:brushProperty name="color" value="#AB008B"/>
      <inkml:brushProperty name="ignorePressure" value="1"/>
    </inkml:brush>
  </inkml:definitions>
  <inkml:trace contextRef="#ctx0" brushRef="#br0">1 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16T17:53:04.310"/>
    </inkml:context>
    <inkml:brush xml:id="br0">
      <inkml:brushProperty name="width" value="0.025" units="cm"/>
      <inkml:brushProperty name="height" value="0.025" units="cm"/>
      <inkml:brushProperty name="color" value="#AB008B"/>
      <inkml:brushProperty name="ignorePressure" value="1"/>
    </inkml:brush>
  </inkml:definitions>
  <inkml:trace contextRef="#ctx0" brushRef="#br0">1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16T17:52:57.634"/>
    </inkml:context>
    <inkml:brush xml:id="br0">
      <inkml:brushProperty name="width" value="0.025" units="cm"/>
      <inkml:brushProperty name="height" value="0.025" units="cm"/>
      <inkml:brushProperty name="color" value="#AB008B"/>
      <inkml:brushProperty name="ignorePressure" value="1"/>
    </inkml:brush>
  </inkml:definitions>
  <inkml:trace contextRef="#ctx0" brushRef="#br0">1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16T17:53:04.310"/>
    </inkml:context>
    <inkml:brush xml:id="br0">
      <inkml:brushProperty name="width" value="0.025" units="cm"/>
      <inkml:brushProperty name="height" value="0.025" units="cm"/>
      <inkml:brushProperty name="color" value="#AB008B"/>
      <inkml:brushProperty name="ignorePressure" value="1"/>
    </inkml:brush>
  </inkml:definitions>
  <inkml:trace contextRef="#ctx0" brushRef="#br0">1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16T17:52:57.634"/>
    </inkml:context>
    <inkml:brush xml:id="br0">
      <inkml:brushProperty name="width" value="0.025" units="cm"/>
      <inkml:brushProperty name="height" value="0.025" units="cm"/>
      <inkml:brushProperty name="color" value="#AB008B"/>
      <inkml:brushProperty name="ignorePressure" value="1"/>
    </inkml:brush>
  </inkml:definitions>
  <inkml:trace contextRef="#ctx0" brushRef="#br0">1 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16T17:53:04.310"/>
    </inkml:context>
    <inkml:brush xml:id="br0">
      <inkml:brushProperty name="width" value="0.025" units="cm"/>
      <inkml:brushProperty name="height" value="0.025" units="cm"/>
      <inkml:brushProperty name="color" value="#AB008B"/>
      <inkml:brushProperty name="ignorePressure" value="1"/>
    </inkml:brush>
  </inkml:definitions>
  <inkml:trace contextRef="#ctx0" brushRef="#br0">1 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16T17:52:57.634"/>
    </inkml:context>
    <inkml:brush xml:id="br0">
      <inkml:brushProperty name="width" value="0.025" units="cm"/>
      <inkml:brushProperty name="height" value="0.025" units="cm"/>
      <inkml:brushProperty name="color" value="#AB008B"/>
      <inkml:brushProperty name="ignorePressure" value="1"/>
    </inkml:brush>
  </inkml:definitions>
  <inkml:trace contextRef="#ctx0" brushRef="#br0">1 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16T17:53:04.310"/>
    </inkml:context>
    <inkml:brush xml:id="br0">
      <inkml:brushProperty name="width" value="0.025" units="cm"/>
      <inkml:brushProperty name="height" value="0.025" units="cm"/>
      <inkml:brushProperty name="color" value="#AB008B"/>
      <inkml:brushProperty name="ignorePressure" value="1"/>
    </inkml:brush>
  </inkml:definitions>
  <inkml:trace contextRef="#ctx0" brushRef="#br0">1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16T17:53:04.310"/>
    </inkml:context>
    <inkml:brush xml:id="br0">
      <inkml:brushProperty name="width" value="0.025" units="cm"/>
      <inkml:brushProperty name="height" value="0.025" units="cm"/>
      <inkml:brushProperty name="color" value="#AB008B"/>
      <inkml:brushProperty name="ignorePressure" value="1"/>
    </inkml:brush>
  </inkml:definitions>
  <inkml:trace contextRef="#ctx0" brushRef="#br0">1 0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16T17:52:57.634"/>
    </inkml:context>
    <inkml:brush xml:id="br0">
      <inkml:brushProperty name="width" value="0.025" units="cm"/>
      <inkml:brushProperty name="height" value="0.025" units="cm"/>
      <inkml:brushProperty name="color" value="#AB008B"/>
      <inkml:brushProperty name="ignorePressure" value="1"/>
    </inkml:brush>
  </inkml:definitions>
  <inkml:trace contextRef="#ctx0" brushRef="#br0">1 0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16T17:53:04.310"/>
    </inkml:context>
    <inkml:brush xml:id="br0">
      <inkml:brushProperty name="width" value="0.025" units="cm"/>
      <inkml:brushProperty name="height" value="0.025" units="cm"/>
      <inkml:brushProperty name="color" value="#AB008B"/>
      <inkml:brushProperty name="ignorePressure" value="1"/>
    </inkml:brush>
  </inkml:definitions>
  <inkml:trace contextRef="#ctx0" brushRef="#br0">1 0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16T17:52:57.634"/>
    </inkml:context>
    <inkml:brush xml:id="br0">
      <inkml:brushProperty name="width" value="0.025" units="cm"/>
      <inkml:brushProperty name="height" value="0.025" units="cm"/>
      <inkml:brushProperty name="color" value="#AB008B"/>
      <inkml:brushProperty name="ignorePressure" value="1"/>
    </inkml:brush>
  </inkml:definitions>
  <inkml:trace contextRef="#ctx0" brushRef="#br0">1 0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16T17:53:04.310"/>
    </inkml:context>
    <inkml:brush xml:id="br0">
      <inkml:brushProperty name="width" value="0.025" units="cm"/>
      <inkml:brushProperty name="height" value="0.025" units="cm"/>
      <inkml:brushProperty name="color" value="#AB008B"/>
      <inkml:brushProperty name="ignorePressure" value="1"/>
    </inkml:brush>
  </inkml:definitions>
  <inkml:trace contextRef="#ctx0" brushRef="#br0">1 0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16T17:52:57.634"/>
    </inkml:context>
    <inkml:brush xml:id="br0">
      <inkml:brushProperty name="width" value="0.025" units="cm"/>
      <inkml:brushProperty name="height" value="0.025" units="cm"/>
      <inkml:brushProperty name="color" value="#AB008B"/>
      <inkml:brushProperty name="ignorePressure" value="1"/>
    </inkml:brush>
  </inkml:definitions>
  <inkml:trace contextRef="#ctx0" brushRef="#br0">1 0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16T17:53:04.310"/>
    </inkml:context>
    <inkml:brush xml:id="br0">
      <inkml:brushProperty name="width" value="0.025" units="cm"/>
      <inkml:brushProperty name="height" value="0.025" units="cm"/>
      <inkml:brushProperty name="color" value="#AB008B"/>
      <inkml:brushProperty name="ignorePressure" value="1"/>
    </inkml:brush>
  </inkml:definitions>
  <inkml:trace contextRef="#ctx0" brushRef="#br0">1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16T17:52:57.634"/>
    </inkml:context>
    <inkml:brush xml:id="br0">
      <inkml:brushProperty name="width" value="0.025" units="cm"/>
      <inkml:brushProperty name="height" value="0.025" units="cm"/>
      <inkml:brushProperty name="color" value="#AB008B"/>
      <inkml:brushProperty name="ignorePressure" value="1"/>
    </inkml:brush>
  </inkml:definitions>
  <inkml:trace contextRef="#ctx0" brushRef="#br0">1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16T17:53:04.310"/>
    </inkml:context>
    <inkml:brush xml:id="br0">
      <inkml:brushProperty name="width" value="0.025" units="cm"/>
      <inkml:brushProperty name="height" value="0.025" units="cm"/>
      <inkml:brushProperty name="color" value="#AB008B"/>
      <inkml:brushProperty name="ignorePressure" value="1"/>
    </inkml:brush>
  </inkml:definitions>
  <inkml:trace contextRef="#ctx0" brushRef="#br0">1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16T17:52:57.634"/>
    </inkml:context>
    <inkml:brush xml:id="br0">
      <inkml:brushProperty name="width" value="0.025" units="cm"/>
      <inkml:brushProperty name="height" value="0.025" units="cm"/>
      <inkml:brushProperty name="color" value="#AB008B"/>
      <inkml:brushProperty name="ignorePressure" value="1"/>
    </inkml:brush>
  </inkml:definitions>
  <inkml:trace contextRef="#ctx0" brushRef="#br0">1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16T17:53:04.310"/>
    </inkml:context>
    <inkml:brush xml:id="br0">
      <inkml:brushProperty name="width" value="0.025" units="cm"/>
      <inkml:brushProperty name="height" value="0.025" units="cm"/>
      <inkml:brushProperty name="color" value="#AB008B"/>
      <inkml:brushProperty name="ignorePressure" value="1"/>
    </inkml:brush>
  </inkml:definitions>
  <inkml:trace contextRef="#ctx0" brushRef="#br0">1 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16T17:52:57.634"/>
    </inkml:context>
    <inkml:brush xml:id="br0">
      <inkml:brushProperty name="width" value="0.025" units="cm"/>
      <inkml:brushProperty name="height" value="0.025" units="cm"/>
      <inkml:brushProperty name="color" value="#AB008B"/>
      <inkml:brushProperty name="ignorePressure" value="1"/>
    </inkml:brush>
  </inkml:definitions>
  <inkml:trace contextRef="#ctx0" brushRef="#br0">1 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16T17:53:04.310"/>
    </inkml:context>
    <inkml:brush xml:id="br0">
      <inkml:brushProperty name="width" value="0.025" units="cm"/>
      <inkml:brushProperty name="height" value="0.025" units="cm"/>
      <inkml:brushProperty name="color" value="#AB008B"/>
      <inkml:brushProperty name="ignorePressure" value="1"/>
    </inkml:brush>
  </inkml:definitions>
  <inkml:trace contextRef="#ctx0" brushRef="#br0">1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5-16T17:52:57.634"/>
    </inkml:context>
    <inkml:brush xml:id="br0">
      <inkml:brushProperty name="width" value="0.025" units="cm"/>
      <inkml:brushProperty name="height" value="0.025" units="cm"/>
      <inkml:brushProperty name="color" value="#AB008B"/>
      <inkml:brushProperty name="ignorePressure" value="1"/>
    </inkml:brush>
  </inkml:definitions>
  <inkml:trace contextRef="#ctx0" brushRef="#br0">1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5DFA7C-2F65-46CF-8EAD-BEA91DFE6D08}" type="datetimeFigureOut">
              <a:rPr lang="en-US" smtClean="0"/>
              <a:t>7/2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FDB720-D5E7-4760-87D0-3ADE6E3718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73331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FDB720-D5E7-4760-87D0-3ADE6E3718E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0098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07366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9204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37203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48333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58370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03641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35514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FDB720-D5E7-4760-87D0-3ADE6E3718E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6967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19135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0068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0859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95220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45927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05538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97212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F3E749-A96F-481F-03C9-E03BB0E952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ECBE96C-C83C-D27A-98ED-1AB040FA6C5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D249A7-34B4-B857-7AED-401C348526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E601B-A405-42B7-A12E-F2958C472A85}" type="datetimeFigureOut">
              <a:rPr lang="en-US" smtClean="0"/>
              <a:t>7/2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030A4F-A532-F259-7BB8-25E7C722F9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38B143-6A87-CE1F-30C6-7D3368BE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3F869B-54F5-4CDE-B4AE-C76CD30A5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51090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CE573A-2BD5-7088-0B00-9A4DA96089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6A3DFB-C118-EACB-893B-FBC969DE714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180260-03FB-D7F1-1BC6-E02AB1639D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E601B-A405-42B7-A12E-F2958C472A85}" type="datetimeFigureOut">
              <a:rPr lang="en-US" smtClean="0"/>
              <a:t>7/2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DE2B27-8FA1-2486-DFDF-72DBDB918F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69E520-409D-B0A0-8F1A-768F79D55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3F869B-54F5-4CDE-B4AE-C76CD30A5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2071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8F20D62-DD42-7BC6-4DFC-139BFCCF78A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EFBC63E-2FDB-6E1C-B112-81CD9FF4434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5848B7-6701-8AC7-680F-6C9CF389A4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E601B-A405-42B7-A12E-F2958C472A85}" type="datetimeFigureOut">
              <a:rPr lang="en-US" smtClean="0"/>
              <a:t>7/2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418FA0-B4FA-C292-49AE-0E814CB1A7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2BE1F3-C91E-5DD1-9D5A-542454D9FC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3F869B-54F5-4CDE-B4AE-C76CD30A5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2367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55CF878B-0217-0645-8AC3-24B8CA35D477}"/>
              </a:ext>
            </a:extLst>
          </p:cNvPr>
          <p:cNvGrpSpPr/>
          <p:nvPr userDrawn="1"/>
        </p:nvGrpSpPr>
        <p:grpSpPr>
          <a:xfrm>
            <a:off x="2926082" y="4611718"/>
            <a:ext cx="6000704" cy="878803"/>
            <a:chOff x="4699000" y="4711700"/>
            <a:chExt cx="2514600" cy="5080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D8EBE17-E295-AB40-9BCF-D315DA2676F5}"/>
                </a:ext>
              </a:extLst>
            </p:cNvPr>
            <p:cNvSpPr/>
            <p:nvPr userDrawn="1"/>
          </p:nvSpPr>
          <p:spPr>
            <a:xfrm rot="10800000">
              <a:off x="6375400" y="4711700"/>
              <a:ext cx="838200" cy="254000"/>
            </a:xfrm>
            <a:prstGeom prst="rect">
              <a:avLst/>
            </a:prstGeom>
            <a:solidFill>
              <a:srgbClr val="1F2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81F90D2-B37D-5849-A212-AB8B9C849426}"/>
                </a:ext>
              </a:extLst>
            </p:cNvPr>
            <p:cNvSpPr/>
            <p:nvPr userDrawn="1"/>
          </p:nvSpPr>
          <p:spPr>
            <a:xfrm rot="10800000">
              <a:off x="5537200" y="4965700"/>
              <a:ext cx="838200" cy="254000"/>
            </a:xfrm>
            <a:prstGeom prst="rect">
              <a:avLst/>
            </a:prstGeom>
            <a:solidFill>
              <a:srgbClr val="1E5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6DCA7D3-4DBB-2748-B3F5-241B2E2C5C79}"/>
                </a:ext>
              </a:extLst>
            </p:cNvPr>
            <p:cNvSpPr/>
            <p:nvPr userDrawn="1"/>
          </p:nvSpPr>
          <p:spPr>
            <a:xfrm rot="10800000">
              <a:off x="4699000" y="4711700"/>
              <a:ext cx="838200" cy="254000"/>
            </a:xfrm>
            <a:prstGeom prst="rect">
              <a:avLst/>
            </a:prstGeom>
            <a:solidFill>
              <a:srgbClr val="90DC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C528A9BB-DBA9-4E83-B066-41840B0E40B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518032" y="6360193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r>
              <a:rPr lang="en-IN" dirty="0"/>
              <a:t>ICEMA | Monthly Industry Update  </a:t>
            </a:r>
          </a:p>
          <a:p>
            <a:endParaRPr lang="en-US" sz="11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0F2F4D9-EA5F-427E-BB26-C452AA016F09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6082" y="1043387"/>
            <a:ext cx="6000704" cy="269865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621571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picture containing outdoor, photo, grass, large&#10;&#10;Description automatically generated">
            <a:extLst>
              <a:ext uri="{FF2B5EF4-FFF2-40B4-BE49-F238E27FC236}">
                <a16:creationId xmlns:a16="http://schemas.microsoft.com/office/drawing/2014/main" id="{B4D0E23C-A92F-604A-A9BE-E7F795D975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511" t="196" r="-237" b="17272"/>
          <a:stretch/>
        </p:blipFill>
        <p:spPr>
          <a:xfrm flipH="1">
            <a:off x="-34980" y="-3064"/>
            <a:ext cx="12226979" cy="6861064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18F9552-69B8-DC4B-9A2E-7E59465C8C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09951" y="3695797"/>
            <a:ext cx="5143221" cy="615950"/>
          </a:xfrm>
        </p:spPr>
        <p:txBody>
          <a:bodyPr/>
          <a:lstStyle>
            <a:lvl1pPr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GB" dirty="0"/>
          </a:p>
        </p:txBody>
      </p:sp>
      <p:pic>
        <p:nvPicPr>
          <p:cNvPr id="7" name="Picture 6" descr="Shape&#10;&#10;Description automatically generated">
            <a:extLst>
              <a:ext uri="{FF2B5EF4-FFF2-40B4-BE49-F238E27FC236}">
                <a16:creationId xmlns:a16="http://schemas.microsoft.com/office/drawing/2014/main" id="{FA74BD85-EF97-854A-8CA2-0C836D397E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436792"/>
            <a:ext cx="1862947" cy="168965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095695B-8FEE-C14D-AD22-065C27E4D96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31473" y="2436792"/>
            <a:ext cx="6356833" cy="1222375"/>
          </a:xfrm>
          <a:solidFill>
            <a:srgbClr val="00B3C8"/>
          </a:solidFill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GB" dirty="0"/>
          </a:p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B54301A-662B-4794-84CF-F2A41AC9A481}"/>
              </a:ext>
            </a:extLst>
          </p:cNvPr>
          <p:cNvGrpSpPr/>
          <p:nvPr userDrawn="1"/>
        </p:nvGrpSpPr>
        <p:grpSpPr>
          <a:xfrm>
            <a:off x="43963" y="6314471"/>
            <a:ext cx="12074730" cy="531294"/>
            <a:chOff x="43963" y="6314471"/>
            <a:chExt cx="12074730" cy="531294"/>
          </a:xfrm>
        </p:grpSpPr>
        <p:pic>
          <p:nvPicPr>
            <p:cNvPr id="13" name="Picture 12" descr="Icon&#10;&#10;Description automatically generated">
              <a:extLst>
                <a:ext uri="{FF2B5EF4-FFF2-40B4-BE49-F238E27FC236}">
                  <a16:creationId xmlns:a16="http://schemas.microsoft.com/office/drawing/2014/main" id="{CE20735C-EA64-4E0A-BD95-04E9FA976ED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713696" y="6374460"/>
              <a:ext cx="438283" cy="366934"/>
            </a:xfrm>
            <a:prstGeom prst="rect">
              <a:avLst/>
            </a:prstGeom>
          </p:spPr>
        </p:pic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51CF6D8-3528-4B5D-BE08-095B228EBA56}"/>
                </a:ext>
              </a:extLst>
            </p:cNvPr>
            <p:cNvGrpSpPr/>
            <p:nvPr userDrawn="1"/>
          </p:nvGrpSpPr>
          <p:grpSpPr>
            <a:xfrm>
              <a:off x="43963" y="6314471"/>
              <a:ext cx="12074730" cy="531294"/>
              <a:chOff x="43963" y="6314471"/>
              <a:chExt cx="12074730" cy="531294"/>
            </a:xfrm>
          </p:grpSpPr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5AC16DEF-630A-4FB6-8CFC-0517FD7A77C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3963" y="6685517"/>
                <a:ext cx="3341077" cy="0"/>
              </a:xfrm>
              <a:prstGeom prst="line">
                <a:avLst/>
              </a:prstGeom>
              <a:ln w="57150">
                <a:solidFill>
                  <a:srgbClr val="1D519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D6D6C8D8-EE4D-4DA3-91DF-114680656DE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72257" y="6685517"/>
                <a:ext cx="3341077" cy="0"/>
              </a:xfrm>
              <a:prstGeom prst="line">
                <a:avLst/>
              </a:prstGeom>
              <a:ln w="57150">
                <a:solidFill>
                  <a:srgbClr val="00B3C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FEC1D055-814A-4F25-B8D5-C49EE68A252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318135" y="6685517"/>
                <a:ext cx="3341077" cy="0"/>
              </a:xfrm>
              <a:prstGeom prst="line">
                <a:avLst/>
              </a:prstGeom>
              <a:ln w="57150">
                <a:solidFill>
                  <a:srgbClr val="93D6E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936BA213-C4B9-48B2-ADC5-37BFC8B0BB6F}"/>
                  </a:ext>
                </a:extLst>
              </p:cNvPr>
              <p:cNvPicPr/>
              <p:nvPr userDrawn="1"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932507" y="6314471"/>
                <a:ext cx="1186186" cy="531294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D4CB3D6C-2658-4801-8D54-A9D4A268EE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7824651" y="6383044"/>
            <a:ext cx="277964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ICEMA | Monthly Industry Update  </a:t>
            </a:r>
          </a:p>
        </p:txBody>
      </p:sp>
    </p:spTree>
    <p:extLst>
      <p:ext uri="{BB962C8B-B14F-4D97-AF65-F5344CB8AC3E}">
        <p14:creationId xmlns:p14="http://schemas.microsoft.com/office/powerpoint/2010/main" val="16909226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1CC5824-CE1D-E349-ACAC-2CCEF4C5113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6518032" y="6360193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algn="r"/>
            <a:r>
              <a:rPr lang="en-IN" dirty="0"/>
              <a:t>ICEMA | Monthly Industry Updat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D025F80-98AB-F746-B960-1B942328850A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484185" y="2059233"/>
            <a:ext cx="5181600" cy="4215745"/>
          </a:xfrm>
        </p:spPr>
        <p:txBody>
          <a:bodyPr/>
          <a:lstStyle>
            <a:lvl1pPr>
              <a:buClr>
                <a:srgbClr val="00B3C8"/>
              </a:buClr>
              <a:defRPr sz="16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B3C8"/>
              </a:buClr>
              <a:defRPr sz="14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B3C8"/>
              </a:buClr>
              <a:defRPr sz="12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B3C8"/>
              </a:buClr>
              <a:defRPr sz="11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B3C8"/>
              </a:buClr>
              <a:defRPr sz="105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3CB5C714-9E46-004C-A1AB-E8A1E472D5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5294" y="171638"/>
            <a:ext cx="6341168" cy="619472"/>
          </a:xfr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00" b="1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TITLE HERE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2490D7EB-086E-A449-B1B6-87C5860019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016" y="1295455"/>
            <a:ext cx="11256346" cy="582921"/>
          </a:xfrm>
        </p:spPr>
        <p:txBody>
          <a:bodyPr anchor="t"/>
          <a:lstStyle>
            <a:lvl1pPr>
              <a:buNone/>
              <a:defRPr sz="2000" b="1" i="0">
                <a:solidFill>
                  <a:srgbClr val="00B3C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TITLE HERE</a:t>
            </a:r>
            <a:endParaRPr lang="en-US" dirty="0"/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A285DEF9-B105-474C-96DE-1441A3E290DB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473803" y="2059233"/>
            <a:ext cx="5181600" cy="4215745"/>
          </a:xfrm>
        </p:spPr>
        <p:txBody>
          <a:bodyPr/>
          <a:lstStyle>
            <a:lvl1pPr>
              <a:buClr>
                <a:srgbClr val="00B3C8"/>
              </a:buClr>
              <a:defRPr sz="16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B3C8"/>
              </a:buClr>
              <a:defRPr sz="14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B3C8"/>
              </a:buClr>
              <a:defRPr sz="12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B3C8"/>
              </a:buClr>
              <a:defRPr sz="11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B3C8"/>
              </a:buClr>
              <a:defRPr sz="105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8EDBEA6E-AAD5-4C3C-B875-3EB1BAE0F979}"/>
              </a:ext>
            </a:extLst>
          </p:cNvPr>
          <p:cNvSpPr txBox="1">
            <a:spLocks/>
          </p:cNvSpPr>
          <p:nvPr userDrawn="1"/>
        </p:nvSpPr>
        <p:spPr>
          <a:xfrm>
            <a:off x="1" y="-44464"/>
            <a:ext cx="12192001" cy="835574"/>
          </a:xfrm>
          <a:prstGeom prst="rect">
            <a:avLst/>
          </a:prstGeom>
          <a:gradFill flip="none" rotWithShape="1">
            <a:gsLst>
              <a:gs pos="3000">
                <a:srgbClr val="00B3C8"/>
              </a:gs>
              <a:gs pos="66000">
                <a:srgbClr val="1E50A0"/>
              </a:gs>
            </a:gsLst>
            <a:lin ang="1800000" scaled="0"/>
            <a:tileRect/>
          </a:gra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buNone/>
              <a:defRPr sz="2400" b="1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13203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2177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9325" y="622800"/>
            <a:ext cx="10933350" cy="332399"/>
          </a:xfrm>
        </p:spPr>
        <p:txBody>
          <a:bodyPr lIns="0" tIns="0" rIns="0" bIns="0" anchor="t">
            <a:noAutofit/>
          </a:bodyPr>
          <a:lstStyle>
            <a:lvl1pPr>
              <a:defRPr sz="2400">
                <a:solidFill>
                  <a:srgbClr val="1E50A0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00C64678-CC9F-453C-B7A4-2B6EC286EB1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518032" y="6360193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r>
              <a:rPr lang="en-IN" dirty="0"/>
              <a:t>ICEMA | Monthly Industry Update  </a:t>
            </a:r>
          </a:p>
          <a:p>
            <a:endParaRPr lang="en-US" sz="110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942B26D-D32A-4775-9B53-DD7431EA4C50}"/>
              </a:ext>
            </a:extLst>
          </p:cNvPr>
          <p:cNvSpPr txBox="1">
            <a:spLocks/>
          </p:cNvSpPr>
          <p:nvPr userDrawn="1"/>
        </p:nvSpPr>
        <p:spPr>
          <a:xfrm>
            <a:off x="1" y="-44464"/>
            <a:ext cx="12192001" cy="835574"/>
          </a:xfrm>
          <a:prstGeom prst="rect">
            <a:avLst/>
          </a:prstGeom>
          <a:gradFill flip="none" rotWithShape="1">
            <a:gsLst>
              <a:gs pos="3000">
                <a:srgbClr val="00B3C8"/>
              </a:gs>
              <a:gs pos="66000">
                <a:srgbClr val="1E50A0"/>
              </a:gs>
            </a:gsLst>
            <a:lin ang="1800000" scaled="0"/>
            <a:tileRect/>
          </a:gra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buNone/>
              <a:defRPr sz="2400" b="1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4383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0294E6CA-47DE-0E4D-9EF0-66296435B4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38275" y="2938072"/>
            <a:ext cx="6731363" cy="1019331"/>
          </a:xfrm>
        </p:spPr>
        <p:txBody>
          <a:bodyPr/>
          <a:lstStyle>
            <a:lvl1pPr>
              <a:buNone/>
              <a:defRPr b="1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7C52AC7F-26DD-4049-A899-E799DFEB87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38275" y="4159996"/>
            <a:ext cx="6731363" cy="555416"/>
          </a:xfrm>
        </p:spPr>
        <p:txBody>
          <a:bodyPr/>
          <a:lstStyle>
            <a:lvl1pPr>
              <a:buNone/>
              <a:defRPr sz="1800" b="1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LICK TO EDIT SUBTITLE</a:t>
            </a:r>
          </a:p>
        </p:txBody>
      </p:sp>
      <p:pic>
        <p:nvPicPr>
          <p:cNvPr id="28" name="Picture 27" descr="A close up of a logo&#10;&#10;Description automatically generated">
            <a:extLst>
              <a:ext uri="{FF2B5EF4-FFF2-40B4-BE49-F238E27FC236}">
                <a16:creationId xmlns:a16="http://schemas.microsoft.com/office/drawing/2014/main" id="{42BCD304-8A1D-1949-B5B8-9D0EEF485E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5341327" y="1143792"/>
            <a:ext cx="6255988" cy="5056758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E686F04-DB6C-7341-8F92-7A19B4F6282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518032" y="6360193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r>
              <a:rPr lang="en-IN" dirty="0"/>
              <a:t>ICEMA | Monthly Industry Update  </a:t>
            </a:r>
          </a:p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5313339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55CF878B-0217-0645-8AC3-24B8CA35D477}"/>
              </a:ext>
            </a:extLst>
          </p:cNvPr>
          <p:cNvGrpSpPr/>
          <p:nvPr userDrawn="1"/>
        </p:nvGrpSpPr>
        <p:grpSpPr>
          <a:xfrm>
            <a:off x="2926082" y="4611718"/>
            <a:ext cx="6000704" cy="878803"/>
            <a:chOff x="4699000" y="4711700"/>
            <a:chExt cx="2514600" cy="5080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D8EBE17-E295-AB40-9BCF-D315DA2676F5}"/>
                </a:ext>
              </a:extLst>
            </p:cNvPr>
            <p:cNvSpPr/>
            <p:nvPr userDrawn="1"/>
          </p:nvSpPr>
          <p:spPr>
            <a:xfrm rot="10800000">
              <a:off x="6375400" y="4711700"/>
              <a:ext cx="838200" cy="254000"/>
            </a:xfrm>
            <a:prstGeom prst="rect">
              <a:avLst/>
            </a:prstGeom>
            <a:solidFill>
              <a:srgbClr val="1F2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81F90D2-B37D-5849-A212-AB8B9C849426}"/>
                </a:ext>
              </a:extLst>
            </p:cNvPr>
            <p:cNvSpPr/>
            <p:nvPr userDrawn="1"/>
          </p:nvSpPr>
          <p:spPr>
            <a:xfrm rot="10800000">
              <a:off x="5537200" y="4965700"/>
              <a:ext cx="838200" cy="254000"/>
            </a:xfrm>
            <a:prstGeom prst="rect">
              <a:avLst/>
            </a:prstGeom>
            <a:solidFill>
              <a:srgbClr val="1E5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6DCA7D3-4DBB-2748-B3F5-241B2E2C5C79}"/>
                </a:ext>
              </a:extLst>
            </p:cNvPr>
            <p:cNvSpPr/>
            <p:nvPr userDrawn="1"/>
          </p:nvSpPr>
          <p:spPr>
            <a:xfrm rot="10800000">
              <a:off x="4699000" y="4711700"/>
              <a:ext cx="838200" cy="254000"/>
            </a:xfrm>
            <a:prstGeom prst="rect">
              <a:avLst/>
            </a:prstGeom>
            <a:solidFill>
              <a:srgbClr val="90DC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C528A9BB-DBA9-4E83-B066-41840B0E40B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518032" y="6360193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r>
              <a:rPr lang="en-IN" dirty="0"/>
              <a:t>ICEMA | Monthly Industry Update  </a:t>
            </a:r>
          </a:p>
          <a:p>
            <a:endParaRPr lang="en-US" sz="11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0F2F4D9-EA5F-427E-BB26-C452AA016F09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6082" y="1043387"/>
            <a:ext cx="6000704" cy="269865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24707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picture containing outdoor, photo, grass, large&#10;&#10;Description automatically generated">
            <a:extLst>
              <a:ext uri="{FF2B5EF4-FFF2-40B4-BE49-F238E27FC236}">
                <a16:creationId xmlns:a16="http://schemas.microsoft.com/office/drawing/2014/main" id="{B4D0E23C-A92F-604A-A9BE-E7F795D975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511" t="196" r="-237" b="17272"/>
          <a:stretch/>
        </p:blipFill>
        <p:spPr>
          <a:xfrm flipH="1">
            <a:off x="-34980" y="-3064"/>
            <a:ext cx="12226979" cy="6861064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18F9552-69B8-DC4B-9A2E-7E59465C8C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09951" y="3695797"/>
            <a:ext cx="5143221" cy="615950"/>
          </a:xfrm>
        </p:spPr>
        <p:txBody>
          <a:bodyPr/>
          <a:lstStyle>
            <a:lvl1pPr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GB" dirty="0"/>
          </a:p>
        </p:txBody>
      </p:sp>
      <p:pic>
        <p:nvPicPr>
          <p:cNvPr id="7" name="Picture 6" descr="Shape&#10;&#10;Description automatically generated">
            <a:extLst>
              <a:ext uri="{FF2B5EF4-FFF2-40B4-BE49-F238E27FC236}">
                <a16:creationId xmlns:a16="http://schemas.microsoft.com/office/drawing/2014/main" id="{FA74BD85-EF97-854A-8CA2-0C836D397E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436792"/>
            <a:ext cx="1862947" cy="168965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095695B-8FEE-C14D-AD22-065C27E4D96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31473" y="2436792"/>
            <a:ext cx="6356833" cy="1222375"/>
          </a:xfrm>
          <a:solidFill>
            <a:srgbClr val="00B3C8"/>
          </a:solidFill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GB" dirty="0"/>
          </a:p>
          <a:p>
            <a:pPr lvl="0"/>
            <a:r>
              <a:rPr lang="en-GB" dirty="0"/>
              <a:t>CLICK TO EDIT MASTER TEXT STYLE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B54301A-662B-4794-84CF-F2A41AC9A481}"/>
              </a:ext>
            </a:extLst>
          </p:cNvPr>
          <p:cNvGrpSpPr/>
          <p:nvPr userDrawn="1"/>
        </p:nvGrpSpPr>
        <p:grpSpPr>
          <a:xfrm>
            <a:off x="43963" y="6314471"/>
            <a:ext cx="12074730" cy="531294"/>
            <a:chOff x="43963" y="6314471"/>
            <a:chExt cx="12074730" cy="531294"/>
          </a:xfrm>
        </p:grpSpPr>
        <p:pic>
          <p:nvPicPr>
            <p:cNvPr id="13" name="Picture 12" descr="Icon&#10;&#10;Description automatically generated">
              <a:extLst>
                <a:ext uri="{FF2B5EF4-FFF2-40B4-BE49-F238E27FC236}">
                  <a16:creationId xmlns:a16="http://schemas.microsoft.com/office/drawing/2014/main" id="{CE20735C-EA64-4E0A-BD95-04E9FA976ED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713696" y="6374460"/>
              <a:ext cx="438283" cy="366934"/>
            </a:xfrm>
            <a:prstGeom prst="rect">
              <a:avLst/>
            </a:prstGeom>
          </p:spPr>
        </p:pic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51CF6D8-3528-4B5D-BE08-095B228EBA56}"/>
                </a:ext>
              </a:extLst>
            </p:cNvPr>
            <p:cNvGrpSpPr/>
            <p:nvPr userDrawn="1"/>
          </p:nvGrpSpPr>
          <p:grpSpPr>
            <a:xfrm>
              <a:off x="43963" y="6314471"/>
              <a:ext cx="12074730" cy="531294"/>
              <a:chOff x="43963" y="6314471"/>
              <a:chExt cx="12074730" cy="531294"/>
            </a:xfrm>
          </p:grpSpPr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5AC16DEF-630A-4FB6-8CFC-0517FD7A77C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3963" y="6685517"/>
                <a:ext cx="3341077" cy="0"/>
              </a:xfrm>
              <a:prstGeom prst="line">
                <a:avLst/>
              </a:prstGeom>
              <a:ln w="57150">
                <a:solidFill>
                  <a:srgbClr val="1D519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D6D6C8D8-EE4D-4DA3-91DF-114680656DE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72257" y="6685517"/>
                <a:ext cx="3341077" cy="0"/>
              </a:xfrm>
              <a:prstGeom prst="line">
                <a:avLst/>
              </a:prstGeom>
              <a:ln w="57150">
                <a:solidFill>
                  <a:srgbClr val="00B3C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FEC1D055-814A-4F25-B8D5-C49EE68A252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318135" y="6685517"/>
                <a:ext cx="3341077" cy="0"/>
              </a:xfrm>
              <a:prstGeom prst="line">
                <a:avLst/>
              </a:prstGeom>
              <a:ln w="57150">
                <a:solidFill>
                  <a:srgbClr val="93D6E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936BA213-C4B9-48B2-ADC5-37BFC8B0BB6F}"/>
                  </a:ext>
                </a:extLst>
              </p:cNvPr>
              <p:cNvPicPr/>
              <p:nvPr userDrawn="1"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932507" y="6314471"/>
                <a:ext cx="1186186" cy="531294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D4CB3D6C-2658-4801-8D54-A9D4A268EE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7824651" y="6383044"/>
            <a:ext cx="277964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IN" dirty="0"/>
              <a:t>ICEMA | Monthly Industry Update  </a:t>
            </a:r>
          </a:p>
        </p:txBody>
      </p:sp>
    </p:spTree>
    <p:extLst>
      <p:ext uri="{BB962C8B-B14F-4D97-AF65-F5344CB8AC3E}">
        <p14:creationId xmlns:p14="http://schemas.microsoft.com/office/powerpoint/2010/main" val="392629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324D95-CE4C-A143-963D-9FA185C620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7016" y="2067338"/>
            <a:ext cx="6499939" cy="4181021"/>
          </a:xfrm>
        </p:spPr>
        <p:txBody>
          <a:bodyPr/>
          <a:lstStyle>
            <a:lvl1pPr>
              <a:buClr>
                <a:srgbClr val="00B3C8"/>
              </a:buClr>
              <a:defRPr sz="16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B3C8"/>
              </a:buClr>
              <a:defRPr sz="14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B3C8"/>
              </a:buClr>
              <a:defRPr sz="12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B3C8"/>
              </a:buClr>
              <a:defRPr sz="11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B3C8"/>
              </a:buClr>
              <a:defRPr sz="105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06F3864-858F-084F-97B2-318C5CA3171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5294" y="171638"/>
            <a:ext cx="6341168" cy="619472"/>
          </a:xfr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00" b="1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TITLE HERE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FB8766E8-81B9-7B48-887B-580898D223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016" y="1295455"/>
            <a:ext cx="6499939" cy="582921"/>
          </a:xfrm>
        </p:spPr>
        <p:txBody>
          <a:bodyPr anchor="t"/>
          <a:lstStyle>
            <a:lvl1pPr>
              <a:buNone/>
              <a:defRPr sz="2000" b="1" i="0">
                <a:solidFill>
                  <a:srgbClr val="00B3C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TITLE HERE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8BB3384-958C-874A-858E-EC827244454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7772400" y="6360193"/>
            <a:ext cx="2860432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r>
              <a:rPr lang="en-IN" dirty="0"/>
              <a:t>ICEMA | Monthly Industry Update  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D3BAFA8-6224-D846-8E21-D397158DB55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91388" y="0"/>
            <a:ext cx="4900612" cy="6248357"/>
          </a:xfrm>
        </p:spPr>
        <p:txBody>
          <a:bodyPr/>
          <a:lstStyle>
            <a:lvl1pPr>
              <a:defRPr sz="1600"/>
            </a:lvl1pPr>
          </a:lstStyle>
          <a:p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EC418501-05B5-4C2F-AB6F-82D442CEEE9E}"/>
              </a:ext>
            </a:extLst>
          </p:cNvPr>
          <p:cNvSpPr txBox="1">
            <a:spLocks/>
          </p:cNvSpPr>
          <p:nvPr userDrawn="1"/>
        </p:nvSpPr>
        <p:spPr>
          <a:xfrm>
            <a:off x="1" y="-44464"/>
            <a:ext cx="12192001" cy="835574"/>
          </a:xfrm>
          <a:prstGeom prst="rect">
            <a:avLst/>
          </a:prstGeom>
          <a:gradFill flip="none" rotWithShape="1">
            <a:gsLst>
              <a:gs pos="3000">
                <a:srgbClr val="00B3C8"/>
              </a:gs>
              <a:gs pos="66000">
                <a:srgbClr val="1E50A0"/>
              </a:gs>
            </a:gsLst>
            <a:lin ang="1800000" scaled="0"/>
            <a:tileRect/>
          </a:gra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buNone/>
              <a:defRPr sz="2400" b="1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64271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B22240-BCD2-7DC8-0935-3A0FB18718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335E7E-3A8D-EBB1-1EA8-77ED336FAD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3D51DA-0766-EE59-30CC-556C302E0A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E601B-A405-42B7-A12E-F2958C472A85}" type="datetimeFigureOut">
              <a:rPr lang="en-US" smtClean="0"/>
              <a:t>7/2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397255-F178-4FD3-4B2F-1B926A85F9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F0D46B-1793-A6DB-56F1-5692C49F1A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3F869B-54F5-4CDE-B4AE-C76CD30A5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3029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0294E6CA-47DE-0E4D-9EF0-66296435B4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38275" y="2938072"/>
            <a:ext cx="6731363" cy="1019331"/>
          </a:xfrm>
        </p:spPr>
        <p:txBody>
          <a:bodyPr/>
          <a:lstStyle>
            <a:lvl1pPr>
              <a:buNone/>
              <a:defRPr b="1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7C52AC7F-26DD-4049-A899-E799DFEB87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38275" y="4159996"/>
            <a:ext cx="6731363" cy="555416"/>
          </a:xfrm>
        </p:spPr>
        <p:txBody>
          <a:bodyPr/>
          <a:lstStyle>
            <a:lvl1pPr>
              <a:buNone/>
              <a:defRPr sz="1800" b="1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LICK TO EDIT SUBTITLE</a:t>
            </a:r>
          </a:p>
        </p:txBody>
      </p:sp>
      <p:pic>
        <p:nvPicPr>
          <p:cNvPr id="28" name="Picture 27" descr="A close up of a logo&#10;&#10;Description automatically generated">
            <a:extLst>
              <a:ext uri="{FF2B5EF4-FFF2-40B4-BE49-F238E27FC236}">
                <a16:creationId xmlns:a16="http://schemas.microsoft.com/office/drawing/2014/main" id="{42BCD304-8A1D-1949-B5B8-9D0EEF485E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5341327" y="1143792"/>
            <a:ext cx="6255988" cy="5056758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E686F04-DB6C-7341-8F92-7A19B4F6282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518032" y="6360193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r>
              <a:rPr lang="en-IN" dirty="0"/>
              <a:t>ICEMA | Monthly Industry Update  </a:t>
            </a:r>
          </a:p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979020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0294E6CA-47DE-0E4D-9EF0-66296435B4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38275" y="2938072"/>
            <a:ext cx="6731363" cy="1019331"/>
          </a:xfrm>
        </p:spPr>
        <p:txBody>
          <a:bodyPr/>
          <a:lstStyle>
            <a:lvl1pPr>
              <a:buNone/>
              <a:defRPr b="1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7C52AC7F-26DD-4049-A899-E799DFEB87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38275" y="4159996"/>
            <a:ext cx="6731363" cy="555416"/>
          </a:xfrm>
        </p:spPr>
        <p:txBody>
          <a:bodyPr/>
          <a:lstStyle>
            <a:lvl1pPr>
              <a:buNone/>
              <a:defRPr sz="1800" b="1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LICK TO EDIT SUBTITLE</a:t>
            </a:r>
          </a:p>
        </p:txBody>
      </p:sp>
      <p:pic>
        <p:nvPicPr>
          <p:cNvPr id="6" name="Picture 5" descr="Diagram, engineering drawing&#10;&#10;Description automatically generated">
            <a:extLst>
              <a:ext uri="{FF2B5EF4-FFF2-40B4-BE49-F238E27FC236}">
                <a16:creationId xmlns:a16="http://schemas.microsoft.com/office/drawing/2014/main" id="{4AE19DC5-C3AB-064B-994C-AD27E0985D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5726243" y="569626"/>
            <a:ext cx="5445905" cy="5529048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41E86CC-D96D-6D40-ADA0-274A19DA943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518032" y="6360193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r>
              <a:rPr lang="en-IN" dirty="0"/>
              <a:t>ICEMA | Monthly Industry Update  </a:t>
            </a:r>
          </a:p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40101861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20B4E85C-85A4-9E4E-A367-FC810B573B55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484185" y="2059233"/>
            <a:ext cx="5181600" cy="4215745"/>
          </a:xfrm>
        </p:spPr>
        <p:txBody>
          <a:bodyPr/>
          <a:lstStyle>
            <a:lvl1pPr>
              <a:buClr>
                <a:srgbClr val="00B3C8"/>
              </a:buClr>
              <a:defRPr sz="16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B3C8"/>
              </a:buClr>
              <a:defRPr sz="14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B3C8"/>
              </a:buClr>
              <a:defRPr sz="12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B3C8"/>
              </a:buClr>
              <a:defRPr sz="11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B3C8"/>
              </a:buClr>
              <a:defRPr sz="105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D57A0A8-5426-0941-B1B7-182017A7AAC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6518032" y="6360193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algn="r"/>
            <a:r>
              <a:rPr lang="en-IN" dirty="0"/>
              <a:t>ICEMA | Monthly Industry Update  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CE8479F-8246-8249-8915-B4D3698C7AE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5294" y="171638"/>
            <a:ext cx="6341168" cy="619472"/>
          </a:xfr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00" b="1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TITLE HERE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AEFD2FB-BB14-EE46-BDEC-FE657C8385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016" y="1295455"/>
            <a:ext cx="11256346" cy="582921"/>
          </a:xfrm>
        </p:spPr>
        <p:txBody>
          <a:bodyPr anchor="t"/>
          <a:lstStyle>
            <a:lvl1pPr>
              <a:buNone/>
              <a:defRPr sz="2000" b="1" i="0">
                <a:solidFill>
                  <a:srgbClr val="00B3C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TITL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7FC872A-654C-6A44-A5D0-04C413B1F510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473803" y="2059233"/>
            <a:ext cx="5181600" cy="4215745"/>
          </a:xfrm>
        </p:spPr>
        <p:txBody>
          <a:bodyPr/>
          <a:lstStyle>
            <a:lvl1pPr>
              <a:buClr>
                <a:srgbClr val="00B3C8"/>
              </a:buClr>
              <a:defRPr sz="16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B3C8"/>
              </a:buClr>
              <a:defRPr sz="14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B3C8"/>
              </a:buClr>
              <a:defRPr sz="12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B3C8"/>
              </a:buClr>
              <a:defRPr sz="11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B3C8"/>
              </a:buClr>
              <a:defRPr sz="105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1298C43A-080C-4539-B1C4-56DE0E5CFE75}"/>
              </a:ext>
            </a:extLst>
          </p:cNvPr>
          <p:cNvSpPr txBox="1">
            <a:spLocks/>
          </p:cNvSpPr>
          <p:nvPr userDrawn="1"/>
        </p:nvSpPr>
        <p:spPr>
          <a:xfrm>
            <a:off x="1" y="-44464"/>
            <a:ext cx="12192001" cy="835574"/>
          </a:xfrm>
          <a:prstGeom prst="rect">
            <a:avLst/>
          </a:prstGeom>
          <a:gradFill flip="none" rotWithShape="1">
            <a:gsLst>
              <a:gs pos="3000">
                <a:srgbClr val="00B3C8"/>
              </a:gs>
              <a:gs pos="66000">
                <a:srgbClr val="1E50A0"/>
              </a:gs>
            </a:gsLst>
            <a:lin ang="1800000" scaled="0"/>
            <a:tileRect/>
          </a:gra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buNone/>
              <a:defRPr sz="2400" b="1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53703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1CC5824-CE1D-E349-ACAC-2CCEF4C5113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6518032" y="6360193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algn="r"/>
            <a:r>
              <a:rPr lang="en-IN" dirty="0"/>
              <a:t>ICEMA | Monthly Industry Updat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D025F80-98AB-F746-B960-1B942328850A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484185" y="2059233"/>
            <a:ext cx="5181600" cy="4215745"/>
          </a:xfrm>
        </p:spPr>
        <p:txBody>
          <a:bodyPr/>
          <a:lstStyle>
            <a:lvl1pPr>
              <a:buClr>
                <a:srgbClr val="00B3C8"/>
              </a:buClr>
              <a:defRPr sz="16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B3C8"/>
              </a:buClr>
              <a:defRPr sz="14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B3C8"/>
              </a:buClr>
              <a:defRPr sz="12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B3C8"/>
              </a:buClr>
              <a:defRPr sz="11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B3C8"/>
              </a:buClr>
              <a:defRPr sz="105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3CB5C714-9E46-004C-A1AB-E8A1E472D5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5294" y="171638"/>
            <a:ext cx="6341168" cy="619472"/>
          </a:xfr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00" b="1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TITLE HERE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2490D7EB-086E-A449-B1B6-87C5860019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016" y="1295455"/>
            <a:ext cx="11256346" cy="582921"/>
          </a:xfrm>
        </p:spPr>
        <p:txBody>
          <a:bodyPr anchor="t"/>
          <a:lstStyle>
            <a:lvl1pPr>
              <a:buNone/>
              <a:defRPr sz="2000" b="1" i="0">
                <a:solidFill>
                  <a:srgbClr val="00B3C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TITLE HERE</a:t>
            </a:r>
            <a:endParaRPr lang="en-US" dirty="0"/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A285DEF9-B105-474C-96DE-1441A3E290DB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473803" y="2059233"/>
            <a:ext cx="5181600" cy="4215745"/>
          </a:xfrm>
        </p:spPr>
        <p:txBody>
          <a:bodyPr/>
          <a:lstStyle>
            <a:lvl1pPr>
              <a:buClr>
                <a:srgbClr val="00B3C8"/>
              </a:buClr>
              <a:defRPr sz="16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B3C8"/>
              </a:buClr>
              <a:defRPr sz="14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B3C8"/>
              </a:buClr>
              <a:defRPr sz="12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B3C8"/>
              </a:buClr>
              <a:defRPr sz="11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B3C8"/>
              </a:buClr>
              <a:defRPr sz="105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8EDBEA6E-AAD5-4C3C-B875-3EB1BAE0F979}"/>
              </a:ext>
            </a:extLst>
          </p:cNvPr>
          <p:cNvSpPr txBox="1">
            <a:spLocks/>
          </p:cNvSpPr>
          <p:nvPr userDrawn="1"/>
        </p:nvSpPr>
        <p:spPr>
          <a:xfrm>
            <a:off x="1" y="-44464"/>
            <a:ext cx="12192001" cy="835574"/>
          </a:xfrm>
          <a:prstGeom prst="rect">
            <a:avLst/>
          </a:prstGeom>
          <a:gradFill flip="none" rotWithShape="1">
            <a:gsLst>
              <a:gs pos="3000">
                <a:srgbClr val="00B3C8"/>
              </a:gs>
              <a:gs pos="66000">
                <a:srgbClr val="1E50A0"/>
              </a:gs>
            </a:gsLst>
            <a:lin ang="1800000" scaled="0"/>
            <a:tileRect/>
          </a:gra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buNone/>
              <a:defRPr sz="2400" b="1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87103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48540AE-EF10-8E48-AE8F-E2812DB0D33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518032" y="6360193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r>
              <a:rPr lang="en-IN" dirty="0"/>
              <a:t>ICEMA | Monthly Industry Update  </a:t>
            </a:r>
          </a:p>
          <a:p>
            <a:endParaRPr lang="en-US" sz="1100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4CBFFF90-3677-0347-A79C-D6F7E2EF4B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7017" y="2067338"/>
            <a:ext cx="6499938" cy="4181021"/>
          </a:xfrm>
        </p:spPr>
        <p:txBody>
          <a:bodyPr/>
          <a:lstStyle>
            <a:lvl1pPr>
              <a:buClr>
                <a:srgbClr val="00B3C8"/>
              </a:buClr>
              <a:defRPr sz="16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B3C8"/>
              </a:buClr>
              <a:defRPr sz="14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B3C8"/>
              </a:buClr>
              <a:defRPr sz="12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B3C8"/>
              </a:buClr>
              <a:defRPr sz="11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B3C8"/>
              </a:buClr>
              <a:defRPr sz="105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8" name="Text Placeholder 22">
            <a:extLst>
              <a:ext uri="{FF2B5EF4-FFF2-40B4-BE49-F238E27FC236}">
                <a16:creationId xmlns:a16="http://schemas.microsoft.com/office/drawing/2014/main" id="{1D021E05-0DAA-CB4D-BCCF-31D018013E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5294" y="171638"/>
            <a:ext cx="6341168" cy="619472"/>
          </a:xfr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00" b="1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TITLE HERE</a:t>
            </a:r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EAAB63C2-E126-C149-AA88-6D1382DA8C2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91388" y="0"/>
            <a:ext cx="4900612" cy="6248357"/>
          </a:xfrm>
        </p:spPr>
        <p:txBody>
          <a:bodyPr/>
          <a:lstStyle>
            <a:lvl1pPr>
              <a:defRPr sz="1600"/>
            </a:lvl1pPr>
          </a:lstStyle>
          <a:p>
            <a:endParaRPr lang="en-US" dirty="0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039233D4-555E-8049-BE56-8CF9F04373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015" y="1295455"/>
            <a:ext cx="6499937" cy="582921"/>
          </a:xfrm>
        </p:spPr>
        <p:txBody>
          <a:bodyPr anchor="t"/>
          <a:lstStyle>
            <a:lvl1pPr>
              <a:buNone/>
              <a:defRPr sz="2000" b="1" i="0">
                <a:solidFill>
                  <a:srgbClr val="00B3C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TITLE HERE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9241C1C-82FD-4A6D-A8BC-2A49A1DD2DE7}"/>
              </a:ext>
            </a:extLst>
          </p:cNvPr>
          <p:cNvSpPr txBox="1">
            <a:spLocks/>
          </p:cNvSpPr>
          <p:nvPr userDrawn="1"/>
        </p:nvSpPr>
        <p:spPr>
          <a:xfrm>
            <a:off x="1" y="-44464"/>
            <a:ext cx="12192001" cy="835574"/>
          </a:xfrm>
          <a:prstGeom prst="rect">
            <a:avLst/>
          </a:prstGeom>
          <a:gradFill flip="none" rotWithShape="1">
            <a:gsLst>
              <a:gs pos="3000">
                <a:srgbClr val="00B3C8"/>
              </a:gs>
              <a:gs pos="66000">
                <a:srgbClr val="1E50A0"/>
              </a:gs>
            </a:gsLst>
            <a:lin ang="1800000" scaled="0"/>
            <a:tileRect/>
          </a:gra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buNone/>
              <a:defRPr sz="2400" b="1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78462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FBE85B3-0DF2-1344-9DFC-D96481B43F5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518032" y="6360193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algn="r"/>
            <a:r>
              <a:rPr lang="en-IN" dirty="0"/>
              <a:t>ICEMA | Monthly Industry Update 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062B88F3-C7DA-4FC3-A17E-4387E85DC689}"/>
              </a:ext>
            </a:extLst>
          </p:cNvPr>
          <p:cNvSpPr txBox="1">
            <a:spLocks/>
          </p:cNvSpPr>
          <p:nvPr userDrawn="1"/>
        </p:nvSpPr>
        <p:spPr>
          <a:xfrm>
            <a:off x="1" y="-44464"/>
            <a:ext cx="12192001" cy="835574"/>
          </a:xfrm>
          <a:prstGeom prst="rect">
            <a:avLst/>
          </a:prstGeom>
          <a:gradFill flip="none" rotWithShape="1">
            <a:gsLst>
              <a:gs pos="3000">
                <a:srgbClr val="00B3C8"/>
              </a:gs>
              <a:gs pos="66000">
                <a:srgbClr val="1E50A0"/>
              </a:gs>
            </a:gsLst>
            <a:lin ang="1800000" scaled="0"/>
            <a:tileRect/>
          </a:gra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buNone/>
              <a:defRPr sz="2400" b="1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21149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D23BF4E-26F8-C44A-AA18-0C0C619D1594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84185" y="2059233"/>
            <a:ext cx="5181600" cy="4215745"/>
          </a:xfrm>
        </p:spPr>
        <p:txBody>
          <a:bodyPr/>
          <a:lstStyle>
            <a:lvl1pPr>
              <a:buClr>
                <a:srgbClr val="00B3C8"/>
              </a:buClr>
              <a:defRPr sz="16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B3C8"/>
              </a:buClr>
              <a:defRPr sz="14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B3C8"/>
              </a:buClr>
              <a:defRPr sz="12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B3C8"/>
              </a:buClr>
              <a:defRPr sz="11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B3C8"/>
              </a:buClr>
              <a:defRPr sz="105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Text Placeholder 22">
            <a:extLst>
              <a:ext uri="{FF2B5EF4-FFF2-40B4-BE49-F238E27FC236}">
                <a16:creationId xmlns:a16="http://schemas.microsoft.com/office/drawing/2014/main" id="{4EE32CDC-DFCC-7F42-9C09-B59ADFEC273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294" y="171638"/>
            <a:ext cx="6341168" cy="619472"/>
          </a:xfr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00" b="1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TITLE HERE</a:t>
            </a:r>
          </a:p>
        </p:txBody>
      </p:sp>
      <p:sp>
        <p:nvSpPr>
          <p:cNvPr id="22" name="Text Placeholder 22">
            <a:extLst>
              <a:ext uri="{FF2B5EF4-FFF2-40B4-BE49-F238E27FC236}">
                <a16:creationId xmlns:a16="http://schemas.microsoft.com/office/drawing/2014/main" id="{F54CF5D4-C593-874F-87AC-4B92F88256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016" y="1295455"/>
            <a:ext cx="11256346" cy="582921"/>
          </a:xfrm>
        </p:spPr>
        <p:txBody>
          <a:bodyPr anchor="t"/>
          <a:lstStyle>
            <a:lvl1pPr>
              <a:buNone/>
              <a:defRPr sz="2000" b="1" i="0">
                <a:solidFill>
                  <a:srgbClr val="00B3C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7A69AD-0C41-474E-933A-36EB80B53D27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473803" y="2059233"/>
            <a:ext cx="5181600" cy="4215745"/>
          </a:xfrm>
        </p:spPr>
        <p:txBody>
          <a:bodyPr/>
          <a:lstStyle>
            <a:lvl1pPr>
              <a:buClr>
                <a:srgbClr val="00B3C8"/>
              </a:buClr>
              <a:defRPr sz="16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B3C8"/>
              </a:buClr>
              <a:defRPr sz="14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B3C8"/>
              </a:buClr>
              <a:defRPr sz="12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B3C8"/>
              </a:buClr>
              <a:defRPr sz="11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B3C8"/>
              </a:buClr>
              <a:defRPr sz="105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Footer Placeholder 1">
            <a:extLst>
              <a:ext uri="{FF2B5EF4-FFF2-40B4-BE49-F238E27FC236}">
                <a16:creationId xmlns:a16="http://schemas.microsoft.com/office/drawing/2014/main" id="{60151AA6-3A4E-4E73-9CCE-DC9902259CF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518032" y="6360193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r>
              <a:rPr lang="en-IN" dirty="0"/>
              <a:t>ICEMA | Monthly Industry Update  </a:t>
            </a:r>
          </a:p>
          <a:p>
            <a:endParaRPr lang="en-US" sz="1100" dirty="0"/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A8B6435D-E55C-4627-8533-7F59A306C8DB}"/>
              </a:ext>
            </a:extLst>
          </p:cNvPr>
          <p:cNvSpPr txBox="1">
            <a:spLocks/>
          </p:cNvSpPr>
          <p:nvPr userDrawn="1"/>
        </p:nvSpPr>
        <p:spPr>
          <a:xfrm>
            <a:off x="1" y="-44464"/>
            <a:ext cx="12192001" cy="835574"/>
          </a:xfrm>
          <a:prstGeom prst="rect">
            <a:avLst/>
          </a:prstGeom>
          <a:gradFill flip="none" rotWithShape="1">
            <a:gsLst>
              <a:gs pos="3000">
                <a:srgbClr val="00B3C8"/>
              </a:gs>
              <a:gs pos="66000">
                <a:srgbClr val="1E50A0"/>
              </a:gs>
            </a:gsLst>
            <a:lin ang="1800000" scaled="0"/>
            <a:tileRect/>
          </a:gra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buNone/>
              <a:defRPr sz="2400" b="1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85831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A15BBC1-EA41-994E-9883-7DBACF7EFAA8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484185" y="2059233"/>
            <a:ext cx="5181600" cy="4215745"/>
          </a:xfrm>
        </p:spPr>
        <p:txBody>
          <a:bodyPr/>
          <a:lstStyle>
            <a:lvl1pPr>
              <a:buClr>
                <a:srgbClr val="00B3C8"/>
              </a:buClr>
              <a:defRPr sz="16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B3C8"/>
              </a:buClr>
              <a:defRPr sz="14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B3C8"/>
              </a:buClr>
              <a:defRPr sz="12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B3C8"/>
              </a:buClr>
              <a:defRPr sz="11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B3C8"/>
              </a:buClr>
              <a:defRPr sz="105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Text Placeholder 22">
            <a:extLst>
              <a:ext uri="{FF2B5EF4-FFF2-40B4-BE49-F238E27FC236}">
                <a16:creationId xmlns:a16="http://schemas.microsoft.com/office/drawing/2014/main" id="{2B1C5DA0-0C89-E54B-8FFA-120663C50F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5294" y="171638"/>
            <a:ext cx="6341168" cy="619472"/>
          </a:xfr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00" b="1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TITLE HERE</a:t>
            </a:r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DE65273-2082-1948-A003-DE509E3573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016" y="1295455"/>
            <a:ext cx="11256346" cy="582921"/>
          </a:xfrm>
        </p:spPr>
        <p:txBody>
          <a:bodyPr anchor="t"/>
          <a:lstStyle>
            <a:lvl1pPr>
              <a:buNone/>
              <a:defRPr sz="2000" b="1" i="0">
                <a:solidFill>
                  <a:srgbClr val="00B3C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TITLE HERE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7ADDA52E-F311-8D44-9E29-A97DDB270715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473803" y="2059233"/>
            <a:ext cx="5181600" cy="4215745"/>
          </a:xfrm>
        </p:spPr>
        <p:txBody>
          <a:bodyPr/>
          <a:lstStyle>
            <a:lvl1pPr>
              <a:buClr>
                <a:srgbClr val="00B3C8"/>
              </a:buClr>
              <a:defRPr sz="16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B3C8"/>
              </a:buClr>
              <a:defRPr sz="14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B3C8"/>
              </a:buClr>
              <a:defRPr sz="12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B3C8"/>
              </a:buClr>
              <a:defRPr sz="11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B3C8"/>
              </a:buClr>
              <a:defRPr sz="105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CEF5A5AE-56D0-4ED2-A385-8C1FA1323D8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6518032" y="6360193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r>
              <a:rPr lang="en-IN" dirty="0"/>
              <a:t>ICEMA | Monthly Industry Update  </a:t>
            </a:r>
          </a:p>
          <a:p>
            <a:endParaRPr lang="en-US" sz="1100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FEABB0B1-ED82-40BB-87AD-E46D26BEAE7C}"/>
              </a:ext>
            </a:extLst>
          </p:cNvPr>
          <p:cNvSpPr txBox="1">
            <a:spLocks/>
          </p:cNvSpPr>
          <p:nvPr userDrawn="1"/>
        </p:nvSpPr>
        <p:spPr>
          <a:xfrm>
            <a:off x="1" y="-44464"/>
            <a:ext cx="12192001" cy="835574"/>
          </a:xfrm>
          <a:prstGeom prst="rect">
            <a:avLst/>
          </a:prstGeom>
          <a:gradFill flip="none" rotWithShape="1">
            <a:gsLst>
              <a:gs pos="3000">
                <a:srgbClr val="00B3C8"/>
              </a:gs>
              <a:gs pos="66000">
                <a:srgbClr val="1E50A0"/>
              </a:gs>
            </a:gsLst>
            <a:lin ang="1800000" scaled="0"/>
            <a:tileRect/>
          </a:gra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buNone/>
              <a:defRPr sz="2400" b="1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13036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B5EE2C-2E12-0446-A0A3-595BCEA552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AC8D0D6-D6AB-2646-8286-0BD75CEC4B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D6C15B-29E3-074D-9DB4-476B65A966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55F396AB-E700-4C6D-B289-012D3435EB8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518032" y="6360193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r>
              <a:rPr lang="en-IN" dirty="0"/>
              <a:t>ICEMA | Monthly Industry Update  </a:t>
            </a:r>
          </a:p>
          <a:p>
            <a:endParaRPr lang="en-US" sz="1100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654BE0A5-7F43-486F-82B4-5134C45E57B7}"/>
              </a:ext>
            </a:extLst>
          </p:cNvPr>
          <p:cNvSpPr txBox="1">
            <a:spLocks/>
          </p:cNvSpPr>
          <p:nvPr userDrawn="1"/>
        </p:nvSpPr>
        <p:spPr>
          <a:xfrm>
            <a:off x="1" y="-44464"/>
            <a:ext cx="12192001" cy="835574"/>
          </a:xfrm>
          <a:prstGeom prst="rect">
            <a:avLst/>
          </a:prstGeom>
          <a:gradFill flip="none" rotWithShape="1">
            <a:gsLst>
              <a:gs pos="3000">
                <a:srgbClr val="00B3C8"/>
              </a:gs>
              <a:gs pos="66000">
                <a:srgbClr val="1E50A0"/>
              </a:gs>
            </a:gsLst>
            <a:lin ang="1800000" scaled="0"/>
            <a:tileRect/>
          </a:gra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buNone/>
              <a:defRPr sz="2400" b="1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91390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C2D7A94-F8BC-724A-8624-87E4544B747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BA31D25-F0A8-A048-B4F6-070170CA4D2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F9029F-1F48-7948-8C7B-4A6A06C3E9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5AB09926-6E79-4B4F-9739-A781C55F3C4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518032" y="6360193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r>
              <a:rPr lang="en-IN" dirty="0"/>
              <a:t>ICEMA | Monthly Industry Update  </a:t>
            </a:r>
          </a:p>
          <a:p>
            <a:endParaRPr lang="en-US" sz="1100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A9AE9D33-AAB4-4D87-8D8D-2DBFC572C8CB}"/>
              </a:ext>
            </a:extLst>
          </p:cNvPr>
          <p:cNvSpPr txBox="1">
            <a:spLocks/>
          </p:cNvSpPr>
          <p:nvPr userDrawn="1"/>
        </p:nvSpPr>
        <p:spPr>
          <a:xfrm>
            <a:off x="1" y="-44464"/>
            <a:ext cx="12192001" cy="835574"/>
          </a:xfrm>
          <a:prstGeom prst="rect">
            <a:avLst/>
          </a:prstGeom>
          <a:gradFill flip="none" rotWithShape="1">
            <a:gsLst>
              <a:gs pos="3000">
                <a:srgbClr val="00B3C8"/>
              </a:gs>
              <a:gs pos="66000">
                <a:srgbClr val="1E50A0"/>
              </a:gs>
            </a:gsLst>
            <a:lin ang="1800000" scaled="0"/>
            <a:tileRect/>
          </a:gra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buNone/>
              <a:defRPr sz="2400" b="1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14800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57D27-7B73-4198-C20A-FFD1F286D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708415-CACC-66B1-A2D4-73BB06E241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F66C66-6AFB-007C-18C5-35E8BD777B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E601B-A405-42B7-A12E-F2958C472A85}" type="datetimeFigureOut">
              <a:rPr lang="en-US" smtClean="0"/>
              <a:t>7/2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1C55F1-27B1-037E-2540-A9D322723B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02D727-ABCE-DBE3-0283-66250B970B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3F869B-54F5-4CDE-B4AE-C76CD30A5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1389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2177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9325" y="622800"/>
            <a:ext cx="10933350" cy="332399"/>
          </a:xfrm>
        </p:spPr>
        <p:txBody>
          <a:bodyPr lIns="0" tIns="0" rIns="0" bIns="0" anchor="t">
            <a:noAutofit/>
          </a:bodyPr>
          <a:lstStyle>
            <a:lvl1pPr>
              <a:defRPr sz="2400">
                <a:solidFill>
                  <a:srgbClr val="1E50A0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00C64678-CC9F-453C-B7A4-2B6EC286EB1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518032" y="6360193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r>
              <a:rPr lang="en-IN" dirty="0"/>
              <a:t>ICEMA | Monthly Industry Update  </a:t>
            </a:r>
          </a:p>
          <a:p>
            <a:endParaRPr lang="en-US" sz="110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942B26D-D32A-4775-9B53-DD7431EA4C50}"/>
              </a:ext>
            </a:extLst>
          </p:cNvPr>
          <p:cNvSpPr txBox="1">
            <a:spLocks/>
          </p:cNvSpPr>
          <p:nvPr userDrawn="1"/>
        </p:nvSpPr>
        <p:spPr>
          <a:xfrm>
            <a:off x="1" y="-44464"/>
            <a:ext cx="12192001" cy="835574"/>
          </a:xfrm>
          <a:prstGeom prst="rect">
            <a:avLst/>
          </a:prstGeom>
          <a:gradFill flip="none" rotWithShape="1">
            <a:gsLst>
              <a:gs pos="3000">
                <a:srgbClr val="00B3C8"/>
              </a:gs>
              <a:gs pos="66000">
                <a:srgbClr val="1E50A0"/>
              </a:gs>
            </a:gsLst>
            <a:lin ang="1800000" scaled="0"/>
            <a:tileRect/>
          </a:gra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buNone/>
              <a:defRPr sz="2400" b="1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7348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1572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55CF878B-0217-0645-8AC3-24B8CA35D477}"/>
              </a:ext>
            </a:extLst>
          </p:cNvPr>
          <p:cNvGrpSpPr/>
          <p:nvPr userDrawn="1"/>
        </p:nvGrpSpPr>
        <p:grpSpPr>
          <a:xfrm>
            <a:off x="2926082" y="4611718"/>
            <a:ext cx="6000704" cy="878803"/>
            <a:chOff x="4699000" y="4711700"/>
            <a:chExt cx="2514600" cy="5080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D8EBE17-E295-AB40-9BCF-D315DA2676F5}"/>
                </a:ext>
              </a:extLst>
            </p:cNvPr>
            <p:cNvSpPr/>
            <p:nvPr userDrawn="1"/>
          </p:nvSpPr>
          <p:spPr>
            <a:xfrm rot="10800000">
              <a:off x="6375400" y="4711700"/>
              <a:ext cx="838200" cy="254000"/>
            </a:xfrm>
            <a:prstGeom prst="rect">
              <a:avLst/>
            </a:prstGeom>
            <a:solidFill>
              <a:srgbClr val="1F2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81F90D2-B37D-5849-A212-AB8B9C849426}"/>
                </a:ext>
              </a:extLst>
            </p:cNvPr>
            <p:cNvSpPr/>
            <p:nvPr userDrawn="1"/>
          </p:nvSpPr>
          <p:spPr>
            <a:xfrm rot="10800000">
              <a:off x="5537200" y="4965700"/>
              <a:ext cx="838200" cy="254000"/>
            </a:xfrm>
            <a:prstGeom prst="rect">
              <a:avLst/>
            </a:prstGeom>
            <a:solidFill>
              <a:srgbClr val="1E5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6DCA7D3-4DBB-2748-B3F5-241B2E2C5C79}"/>
                </a:ext>
              </a:extLst>
            </p:cNvPr>
            <p:cNvSpPr/>
            <p:nvPr userDrawn="1"/>
          </p:nvSpPr>
          <p:spPr>
            <a:xfrm rot="10800000">
              <a:off x="4699000" y="4711700"/>
              <a:ext cx="838200" cy="254000"/>
            </a:xfrm>
            <a:prstGeom prst="rect">
              <a:avLst/>
            </a:prstGeom>
            <a:solidFill>
              <a:srgbClr val="90DC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B0F2F4D9-EA5F-427E-BB26-C452AA016F09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6082" y="1043387"/>
            <a:ext cx="6000704" cy="269865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821014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picture containing outdoor, photo, grass, large&#10;&#10;Description automatically generated">
            <a:extLst>
              <a:ext uri="{FF2B5EF4-FFF2-40B4-BE49-F238E27FC236}">
                <a16:creationId xmlns:a16="http://schemas.microsoft.com/office/drawing/2014/main" id="{B4D0E23C-A92F-604A-A9BE-E7F795D975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511" t="196" r="-237" b="17272"/>
          <a:stretch/>
        </p:blipFill>
        <p:spPr>
          <a:xfrm flipH="1">
            <a:off x="-34980" y="-3064"/>
            <a:ext cx="12226979" cy="6861064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18F9552-69B8-DC4B-9A2E-7E59465C8C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09951" y="3695797"/>
            <a:ext cx="5143221" cy="615950"/>
          </a:xfrm>
        </p:spPr>
        <p:txBody>
          <a:bodyPr/>
          <a:lstStyle>
            <a:lvl1pPr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GB" dirty="0"/>
          </a:p>
        </p:txBody>
      </p:sp>
      <p:pic>
        <p:nvPicPr>
          <p:cNvPr id="7" name="Picture 6" descr="Shape&#10;&#10;Description automatically generated">
            <a:extLst>
              <a:ext uri="{FF2B5EF4-FFF2-40B4-BE49-F238E27FC236}">
                <a16:creationId xmlns:a16="http://schemas.microsoft.com/office/drawing/2014/main" id="{FA74BD85-EF97-854A-8CA2-0C836D397E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436792"/>
            <a:ext cx="1862947" cy="168965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095695B-8FEE-C14D-AD22-065C27E4D96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31473" y="2436792"/>
            <a:ext cx="6356833" cy="1222375"/>
          </a:xfrm>
          <a:solidFill>
            <a:srgbClr val="00B3C8"/>
          </a:solidFill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2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GB" dirty="0"/>
          </a:p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D4CB3D6C-2658-4801-8D54-A9D4A268EE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7824651" y="6374297"/>
            <a:ext cx="2779640" cy="382620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IN"/>
              <a:t>Page No. :   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043888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324D95-CE4C-A143-963D-9FA185C620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7016" y="2067338"/>
            <a:ext cx="6499939" cy="4181021"/>
          </a:xfrm>
        </p:spPr>
        <p:txBody>
          <a:bodyPr/>
          <a:lstStyle>
            <a:lvl1pPr>
              <a:buClr>
                <a:srgbClr val="00B3C8"/>
              </a:buClr>
              <a:defRPr sz="16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B3C8"/>
              </a:buClr>
              <a:defRPr sz="14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B3C8"/>
              </a:buClr>
              <a:defRPr sz="12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B3C8"/>
              </a:buClr>
              <a:defRPr sz="11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B3C8"/>
              </a:buClr>
              <a:defRPr sz="105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C06F3864-858F-084F-97B2-318C5CA3171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5294" y="171638"/>
            <a:ext cx="6341168" cy="619472"/>
          </a:xfr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00" b="1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TITLE HERE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FB8766E8-81B9-7B48-887B-580898D223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016" y="1295455"/>
            <a:ext cx="6499939" cy="582921"/>
          </a:xfrm>
        </p:spPr>
        <p:txBody>
          <a:bodyPr anchor="t"/>
          <a:lstStyle>
            <a:lvl1pPr>
              <a:buNone/>
              <a:defRPr sz="2000" b="1" i="0">
                <a:solidFill>
                  <a:srgbClr val="00B3C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TITLE HERE</a:t>
            </a:r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D3BAFA8-6224-D846-8E21-D397158DB55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91388" y="0"/>
            <a:ext cx="4900612" cy="6248357"/>
          </a:xfrm>
        </p:spPr>
        <p:txBody>
          <a:bodyPr/>
          <a:lstStyle>
            <a:lvl1pPr>
              <a:defRPr sz="1600"/>
            </a:lvl1pPr>
          </a:lstStyle>
          <a:p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EC418501-05B5-4C2F-AB6F-82D442CEEE9E}"/>
              </a:ext>
            </a:extLst>
          </p:cNvPr>
          <p:cNvSpPr txBox="1">
            <a:spLocks/>
          </p:cNvSpPr>
          <p:nvPr userDrawn="1"/>
        </p:nvSpPr>
        <p:spPr>
          <a:xfrm>
            <a:off x="1" y="-44464"/>
            <a:ext cx="12192001" cy="835574"/>
          </a:xfrm>
          <a:prstGeom prst="rect">
            <a:avLst/>
          </a:prstGeom>
          <a:gradFill flip="none" rotWithShape="1">
            <a:gsLst>
              <a:gs pos="3000">
                <a:srgbClr val="00B3C8"/>
              </a:gs>
              <a:gs pos="66000">
                <a:srgbClr val="1E50A0"/>
              </a:gs>
            </a:gsLst>
            <a:lin ang="1800000" scaled="0"/>
            <a:tileRect/>
          </a:gra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buNone/>
              <a:defRPr sz="2400" b="1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219413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0294E6CA-47DE-0E4D-9EF0-66296435B4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38275" y="2938072"/>
            <a:ext cx="6731363" cy="1019331"/>
          </a:xfrm>
        </p:spPr>
        <p:txBody>
          <a:bodyPr/>
          <a:lstStyle>
            <a:lvl1pPr>
              <a:buNone/>
              <a:defRPr b="1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7C52AC7F-26DD-4049-A899-E799DFEB87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38275" y="4159996"/>
            <a:ext cx="6731363" cy="555416"/>
          </a:xfrm>
        </p:spPr>
        <p:txBody>
          <a:bodyPr/>
          <a:lstStyle>
            <a:lvl1pPr>
              <a:buNone/>
              <a:defRPr sz="1800" b="1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LICK TO EDIT SUBTITLE</a:t>
            </a:r>
          </a:p>
        </p:txBody>
      </p:sp>
      <p:pic>
        <p:nvPicPr>
          <p:cNvPr id="28" name="Picture 27" descr="A close up of a logo&#10;&#10;Description automatically generated">
            <a:extLst>
              <a:ext uri="{FF2B5EF4-FFF2-40B4-BE49-F238E27FC236}">
                <a16:creationId xmlns:a16="http://schemas.microsoft.com/office/drawing/2014/main" id="{42BCD304-8A1D-1949-B5B8-9D0EEF485E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5341327" y="1143792"/>
            <a:ext cx="6255988" cy="5056758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E686F04-DB6C-7341-8F92-7A19B4F6282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518032" y="6360193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r>
              <a:rPr lang="en-IN"/>
              <a:t>Page No. :   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3845657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0294E6CA-47DE-0E4D-9EF0-66296435B4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38275" y="2938072"/>
            <a:ext cx="6731363" cy="1019331"/>
          </a:xfrm>
        </p:spPr>
        <p:txBody>
          <a:bodyPr/>
          <a:lstStyle>
            <a:lvl1pPr>
              <a:buNone/>
              <a:defRPr b="1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LICK TO EDIT TITLE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7C52AC7F-26DD-4049-A899-E799DFEB87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38275" y="4159996"/>
            <a:ext cx="6731363" cy="555416"/>
          </a:xfrm>
        </p:spPr>
        <p:txBody>
          <a:bodyPr/>
          <a:lstStyle>
            <a:lvl1pPr>
              <a:buNone/>
              <a:defRPr sz="1800" b="1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LICK TO EDIT SUBTITLE</a:t>
            </a:r>
          </a:p>
        </p:txBody>
      </p:sp>
      <p:pic>
        <p:nvPicPr>
          <p:cNvPr id="6" name="Picture 5" descr="Diagram, engineering drawing&#10;&#10;Description automatically generated">
            <a:extLst>
              <a:ext uri="{FF2B5EF4-FFF2-40B4-BE49-F238E27FC236}">
                <a16:creationId xmlns:a16="http://schemas.microsoft.com/office/drawing/2014/main" id="{4AE19DC5-C3AB-064B-994C-AD27E0985D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5726243" y="569626"/>
            <a:ext cx="5445905" cy="552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117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20B4E85C-85A4-9E4E-A367-FC810B573B55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484185" y="2059233"/>
            <a:ext cx="5181600" cy="4215745"/>
          </a:xfrm>
        </p:spPr>
        <p:txBody>
          <a:bodyPr/>
          <a:lstStyle>
            <a:lvl1pPr>
              <a:buClr>
                <a:srgbClr val="00B3C8"/>
              </a:buClr>
              <a:defRPr sz="16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B3C8"/>
              </a:buClr>
              <a:defRPr sz="14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B3C8"/>
              </a:buClr>
              <a:defRPr sz="12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B3C8"/>
              </a:buClr>
              <a:defRPr sz="11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B3C8"/>
              </a:buClr>
              <a:defRPr sz="105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CE8479F-8246-8249-8915-B4D3698C7AE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5294" y="171638"/>
            <a:ext cx="6341168" cy="619472"/>
          </a:xfr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00" b="1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TITLE HERE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AEFD2FB-BB14-EE46-BDEC-FE657C8385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016" y="1295455"/>
            <a:ext cx="11256346" cy="582921"/>
          </a:xfrm>
        </p:spPr>
        <p:txBody>
          <a:bodyPr anchor="t"/>
          <a:lstStyle>
            <a:lvl1pPr>
              <a:buNone/>
              <a:defRPr sz="2000" b="1" i="0">
                <a:solidFill>
                  <a:srgbClr val="00B3C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TITLE HERE</a:t>
            </a:r>
            <a:endParaRPr lang="en-US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7FC872A-654C-6A44-A5D0-04C413B1F510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473803" y="2059233"/>
            <a:ext cx="5181600" cy="4215745"/>
          </a:xfrm>
        </p:spPr>
        <p:txBody>
          <a:bodyPr/>
          <a:lstStyle>
            <a:lvl1pPr>
              <a:buClr>
                <a:srgbClr val="00B3C8"/>
              </a:buClr>
              <a:defRPr sz="16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B3C8"/>
              </a:buClr>
              <a:defRPr sz="14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B3C8"/>
              </a:buClr>
              <a:defRPr sz="12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B3C8"/>
              </a:buClr>
              <a:defRPr sz="11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B3C8"/>
              </a:buClr>
              <a:defRPr sz="105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1298C43A-080C-4539-B1C4-56DE0E5CFE75}"/>
              </a:ext>
            </a:extLst>
          </p:cNvPr>
          <p:cNvSpPr txBox="1">
            <a:spLocks/>
          </p:cNvSpPr>
          <p:nvPr userDrawn="1"/>
        </p:nvSpPr>
        <p:spPr>
          <a:xfrm>
            <a:off x="1" y="-44464"/>
            <a:ext cx="12192001" cy="835574"/>
          </a:xfrm>
          <a:prstGeom prst="rect">
            <a:avLst/>
          </a:prstGeom>
          <a:gradFill flip="none" rotWithShape="1">
            <a:gsLst>
              <a:gs pos="3000">
                <a:srgbClr val="00B3C8"/>
              </a:gs>
              <a:gs pos="66000">
                <a:srgbClr val="1E50A0"/>
              </a:gs>
            </a:gsLst>
            <a:lin ang="1800000" scaled="0"/>
            <a:tileRect/>
          </a:gra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buNone/>
              <a:defRPr sz="2400" b="1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925828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1CC5824-CE1D-E349-ACAC-2CCEF4C5113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6518032" y="6360193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algn="r"/>
            <a:r>
              <a:rPr lang="en-IN"/>
              <a:t>Page No. :   </a:t>
            </a:r>
            <a:endParaRPr lang="en-IN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CD025F80-98AB-F746-B960-1B942328850A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484185" y="2059233"/>
            <a:ext cx="5181600" cy="4215745"/>
          </a:xfrm>
        </p:spPr>
        <p:txBody>
          <a:bodyPr/>
          <a:lstStyle>
            <a:lvl1pPr>
              <a:buClr>
                <a:srgbClr val="00B3C8"/>
              </a:buClr>
              <a:defRPr sz="16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B3C8"/>
              </a:buClr>
              <a:defRPr sz="14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B3C8"/>
              </a:buClr>
              <a:defRPr sz="12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B3C8"/>
              </a:buClr>
              <a:defRPr sz="11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B3C8"/>
              </a:buClr>
              <a:defRPr sz="105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5" name="Text Placeholder 22">
            <a:extLst>
              <a:ext uri="{FF2B5EF4-FFF2-40B4-BE49-F238E27FC236}">
                <a16:creationId xmlns:a16="http://schemas.microsoft.com/office/drawing/2014/main" id="{3CB5C714-9E46-004C-A1AB-E8A1E472D5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5294" y="171638"/>
            <a:ext cx="6341168" cy="619472"/>
          </a:xfr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00" b="1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TITLE HERE</a:t>
            </a:r>
          </a:p>
        </p:txBody>
      </p:sp>
      <p:sp>
        <p:nvSpPr>
          <p:cNvPr id="26" name="Text Placeholder 22">
            <a:extLst>
              <a:ext uri="{FF2B5EF4-FFF2-40B4-BE49-F238E27FC236}">
                <a16:creationId xmlns:a16="http://schemas.microsoft.com/office/drawing/2014/main" id="{2490D7EB-086E-A449-B1B6-87C5860019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016" y="1295455"/>
            <a:ext cx="11256346" cy="582921"/>
          </a:xfrm>
        </p:spPr>
        <p:txBody>
          <a:bodyPr anchor="t"/>
          <a:lstStyle>
            <a:lvl1pPr>
              <a:buNone/>
              <a:defRPr sz="2000" b="1" i="0">
                <a:solidFill>
                  <a:srgbClr val="00B3C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TITLE HERE</a:t>
            </a:r>
            <a:endParaRPr lang="en-US" dirty="0"/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A285DEF9-B105-474C-96DE-1441A3E290DB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473803" y="2059233"/>
            <a:ext cx="5181600" cy="4215745"/>
          </a:xfrm>
        </p:spPr>
        <p:txBody>
          <a:bodyPr/>
          <a:lstStyle>
            <a:lvl1pPr>
              <a:buClr>
                <a:srgbClr val="00B3C8"/>
              </a:buClr>
              <a:defRPr sz="16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B3C8"/>
              </a:buClr>
              <a:defRPr sz="14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B3C8"/>
              </a:buClr>
              <a:defRPr sz="12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B3C8"/>
              </a:buClr>
              <a:defRPr sz="11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B3C8"/>
              </a:buClr>
              <a:defRPr sz="105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8EDBEA6E-AAD5-4C3C-B875-3EB1BAE0F979}"/>
              </a:ext>
            </a:extLst>
          </p:cNvPr>
          <p:cNvSpPr txBox="1">
            <a:spLocks/>
          </p:cNvSpPr>
          <p:nvPr userDrawn="1"/>
        </p:nvSpPr>
        <p:spPr>
          <a:xfrm>
            <a:off x="1" y="-44464"/>
            <a:ext cx="12192001" cy="835574"/>
          </a:xfrm>
          <a:prstGeom prst="rect">
            <a:avLst/>
          </a:prstGeom>
          <a:gradFill flip="none" rotWithShape="1">
            <a:gsLst>
              <a:gs pos="3000">
                <a:srgbClr val="00B3C8"/>
              </a:gs>
              <a:gs pos="66000">
                <a:srgbClr val="1E50A0"/>
              </a:gs>
            </a:gsLst>
            <a:lin ang="1800000" scaled="0"/>
            <a:tileRect/>
          </a:gra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buNone/>
              <a:defRPr sz="2400" b="1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518217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4CBFFF90-3677-0347-A79C-D6F7E2EF4B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7017" y="2067338"/>
            <a:ext cx="6499938" cy="4181021"/>
          </a:xfrm>
        </p:spPr>
        <p:txBody>
          <a:bodyPr/>
          <a:lstStyle>
            <a:lvl1pPr>
              <a:buClr>
                <a:srgbClr val="00B3C8"/>
              </a:buClr>
              <a:defRPr sz="16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B3C8"/>
              </a:buClr>
              <a:defRPr sz="14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B3C8"/>
              </a:buClr>
              <a:defRPr sz="12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B3C8"/>
              </a:buClr>
              <a:defRPr sz="11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B3C8"/>
              </a:buClr>
              <a:defRPr sz="105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8" name="Text Placeholder 22">
            <a:extLst>
              <a:ext uri="{FF2B5EF4-FFF2-40B4-BE49-F238E27FC236}">
                <a16:creationId xmlns:a16="http://schemas.microsoft.com/office/drawing/2014/main" id="{1D021E05-0DAA-CB4D-BCCF-31D018013E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5294" y="171638"/>
            <a:ext cx="6341168" cy="619472"/>
          </a:xfr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00" b="1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TITLE HERE</a:t>
            </a:r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EAAB63C2-E126-C149-AA88-6D1382DA8C2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91388" y="0"/>
            <a:ext cx="4900612" cy="6248357"/>
          </a:xfrm>
        </p:spPr>
        <p:txBody>
          <a:bodyPr/>
          <a:lstStyle>
            <a:lvl1pPr>
              <a:defRPr sz="1600"/>
            </a:lvl1pPr>
          </a:lstStyle>
          <a:p>
            <a:endParaRPr lang="en-US" dirty="0"/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039233D4-555E-8049-BE56-8CF9F04373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015" y="1295455"/>
            <a:ext cx="6499937" cy="582921"/>
          </a:xfrm>
        </p:spPr>
        <p:txBody>
          <a:bodyPr anchor="t"/>
          <a:lstStyle>
            <a:lvl1pPr>
              <a:buNone/>
              <a:defRPr sz="2000" b="1" i="0">
                <a:solidFill>
                  <a:srgbClr val="00B3C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TITLE HERE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9241C1C-82FD-4A6D-A8BC-2A49A1DD2DE7}"/>
              </a:ext>
            </a:extLst>
          </p:cNvPr>
          <p:cNvSpPr txBox="1">
            <a:spLocks/>
          </p:cNvSpPr>
          <p:nvPr userDrawn="1"/>
        </p:nvSpPr>
        <p:spPr>
          <a:xfrm>
            <a:off x="1" y="-44464"/>
            <a:ext cx="12192001" cy="835574"/>
          </a:xfrm>
          <a:prstGeom prst="rect">
            <a:avLst/>
          </a:prstGeom>
          <a:gradFill flip="none" rotWithShape="1">
            <a:gsLst>
              <a:gs pos="3000">
                <a:srgbClr val="00B3C8"/>
              </a:gs>
              <a:gs pos="66000">
                <a:srgbClr val="1E50A0"/>
              </a:gs>
            </a:gsLst>
            <a:lin ang="1800000" scaled="0"/>
            <a:tileRect/>
          </a:gra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buNone/>
              <a:defRPr sz="2400" b="1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64442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77DEB3-9F28-407F-5DF6-89F1BE8D4E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57EAF1-382A-6813-A70C-50FDF0258F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F82EB9-4A0E-3651-CA89-220F8A1933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7A5104-EEFB-988F-52FA-EC8B693A1D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E601B-A405-42B7-A12E-F2958C472A85}" type="datetimeFigureOut">
              <a:rPr lang="en-US" smtClean="0"/>
              <a:t>7/29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88CAAA-357E-32FA-FAB1-6FAF72CFF1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EAF7D3-FDD1-FD33-4033-FDA15D0CE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3F869B-54F5-4CDE-B4AE-C76CD30A5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175036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062B88F3-C7DA-4FC3-A17E-4387E85DC689}"/>
              </a:ext>
            </a:extLst>
          </p:cNvPr>
          <p:cNvSpPr txBox="1">
            <a:spLocks/>
          </p:cNvSpPr>
          <p:nvPr userDrawn="1"/>
        </p:nvSpPr>
        <p:spPr>
          <a:xfrm>
            <a:off x="1" y="-44464"/>
            <a:ext cx="12192001" cy="835574"/>
          </a:xfrm>
          <a:prstGeom prst="rect">
            <a:avLst/>
          </a:prstGeom>
          <a:gradFill flip="none" rotWithShape="1">
            <a:gsLst>
              <a:gs pos="3000">
                <a:srgbClr val="00B3C8"/>
              </a:gs>
              <a:gs pos="66000">
                <a:srgbClr val="1E50A0"/>
              </a:gs>
            </a:gsLst>
            <a:lin ang="1800000" scaled="0"/>
            <a:tileRect/>
          </a:gra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buNone/>
              <a:defRPr sz="2400" b="1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872660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D23BF4E-26F8-C44A-AA18-0C0C619D1594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484185" y="2059233"/>
            <a:ext cx="5181600" cy="4215745"/>
          </a:xfrm>
        </p:spPr>
        <p:txBody>
          <a:bodyPr/>
          <a:lstStyle>
            <a:lvl1pPr>
              <a:buClr>
                <a:srgbClr val="00B3C8"/>
              </a:buClr>
              <a:defRPr sz="16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B3C8"/>
              </a:buClr>
              <a:defRPr sz="14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B3C8"/>
              </a:buClr>
              <a:defRPr sz="12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B3C8"/>
              </a:buClr>
              <a:defRPr sz="11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B3C8"/>
              </a:buClr>
              <a:defRPr sz="105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Text Placeholder 22">
            <a:extLst>
              <a:ext uri="{FF2B5EF4-FFF2-40B4-BE49-F238E27FC236}">
                <a16:creationId xmlns:a16="http://schemas.microsoft.com/office/drawing/2014/main" id="{4EE32CDC-DFCC-7F42-9C09-B59ADFEC273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294" y="171638"/>
            <a:ext cx="6341168" cy="619472"/>
          </a:xfr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00" b="1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TITLE HERE</a:t>
            </a:r>
          </a:p>
        </p:txBody>
      </p:sp>
      <p:sp>
        <p:nvSpPr>
          <p:cNvPr id="22" name="Text Placeholder 22">
            <a:extLst>
              <a:ext uri="{FF2B5EF4-FFF2-40B4-BE49-F238E27FC236}">
                <a16:creationId xmlns:a16="http://schemas.microsoft.com/office/drawing/2014/main" id="{F54CF5D4-C593-874F-87AC-4B92F88256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016" y="1295455"/>
            <a:ext cx="11256346" cy="582921"/>
          </a:xfrm>
        </p:spPr>
        <p:txBody>
          <a:bodyPr anchor="t"/>
          <a:lstStyle>
            <a:lvl1pPr>
              <a:buNone/>
              <a:defRPr sz="2000" b="1" i="0">
                <a:solidFill>
                  <a:srgbClr val="00B3C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TITLE HER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57A69AD-0C41-474E-933A-36EB80B53D27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473803" y="2059233"/>
            <a:ext cx="5181600" cy="4215745"/>
          </a:xfrm>
        </p:spPr>
        <p:txBody>
          <a:bodyPr/>
          <a:lstStyle>
            <a:lvl1pPr>
              <a:buClr>
                <a:srgbClr val="00B3C8"/>
              </a:buClr>
              <a:defRPr sz="16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B3C8"/>
              </a:buClr>
              <a:defRPr sz="14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B3C8"/>
              </a:buClr>
              <a:defRPr sz="12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B3C8"/>
              </a:buClr>
              <a:defRPr sz="11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B3C8"/>
              </a:buClr>
              <a:defRPr sz="105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A8B6435D-E55C-4627-8533-7F59A306C8DB}"/>
              </a:ext>
            </a:extLst>
          </p:cNvPr>
          <p:cNvSpPr txBox="1">
            <a:spLocks/>
          </p:cNvSpPr>
          <p:nvPr userDrawn="1"/>
        </p:nvSpPr>
        <p:spPr>
          <a:xfrm>
            <a:off x="1" y="-44464"/>
            <a:ext cx="12192001" cy="835574"/>
          </a:xfrm>
          <a:prstGeom prst="rect">
            <a:avLst/>
          </a:prstGeom>
          <a:gradFill flip="none" rotWithShape="1">
            <a:gsLst>
              <a:gs pos="3000">
                <a:srgbClr val="00B3C8"/>
              </a:gs>
              <a:gs pos="66000">
                <a:srgbClr val="1E50A0"/>
              </a:gs>
            </a:gsLst>
            <a:lin ang="1800000" scaled="0"/>
            <a:tileRect/>
          </a:gra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buNone/>
              <a:defRPr sz="2400" b="1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36975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A15BBC1-EA41-994E-9883-7DBACF7EFAA8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484185" y="2059233"/>
            <a:ext cx="5181600" cy="4215745"/>
          </a:xfrm>
        </p:spPr>
        <p:txBody>
          <a:bodyPr/>
          <a:lstStyle>
            <a:lvl1pPr>
              <a:buClr>
                <a:srgbClr val="00B3C8"/>
              </a:buClr>
              <a:defRPr sz="16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B3C8"/>
              </a:buClr>
              <a:defRPr sz="14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B3C8"/>
              </a:buClr>
              <a:defRPr sz="12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B3C8"/>
              </a:buClr>
              <a:defRPr sz="11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B3C8"/>
              </a:buClr>
              <a:defRPr sz="105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5" name="Text Placeholder 22">
            <a:extLst>
              <a:ext uri="{FF2B5EF4-FFF2-40B4-BE49-F238E27FC236}">
                <a16:creationId xmlns:a16="http://schemas.microsoft.com/office/drawing/2014/main" id="{2B1C5DA0-0C89-E54B-8FFA-120663C50F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5294" y="171638"/>
            <a:ext cx="6341168" cy="619472"/>
          </a:xfr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00" b="1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TITLE HERE</a:t>
            </a:r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ADE65273-2082-1948-A003-DE509E3573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7016" y="1295455"/>
            <a:ext cx="11256346" cy="582921"/>
          </a:xfrm>
        </p:spPr>
        <p:txBody>
          <a:bodyPr anchor="t"/>
          <a:lstStyle>
            <a:lvl1pPr>
              <a:buNone/>
              <a:defRPr sz="2000" b="1" i="0">
                <a:solidFill>
                  <a:srgbClr val="00B3C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TITLE HERE</a:t>
            </a:r>
            <a:endParaRPr lang="en-US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7ADDA52E-F311-8D44-9E29-A97DDB270715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473803" y="2059233"/>
            <a:ext cx="5181600" cy="4215745"/>
          </a:xfrm>
        </p:spPr>
        <p:txBody>
          <a:bodyPr/>
          <a:lstStyle>
            <a:lvl1pPr>
              <a:buClr>
                <a:srgbClr val="00B3C8"/>
              </a:buClr>
              <a:defRPr sz="16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B3C8"/>
              </a:buClr>
              <a:defRPr sz="14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B3C8"/>
              </a:buClr>
              <a:defRPr sz="12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B3C8"/>
              </a:buClr>
              <a:defRPr sz="110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B3C8"/>
              </a:buClr>
              <a:defRPr sz="1050" b="0" i="0">
                <a:solidFill>
                  <a:srgbClr val="1F294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FEABB0B1-ED82-40BB-87AD-E46D26BEAE7C}"/>
              </a:ext>
            </a:extLst>
          </p:cNvPr>
          <p:cNvSpPr txBox="1">
            <a:spLocks/>
          </p:cNvSpPr>
          <p:nvPr userDrawn="1"/>
        </p:nvSpPr>
        <p:spPr>
          <a:xfrm>
            <a:off x="1" y="-44464"/>
            <a:ext cx="12192001" cy="835574"/>
          </a:xfrm>
          <a:prstGeom prst="rect">
            <a:avLst/>
          </a:prstGeom>
          <a:gradFill flip="none" rotWithShape="1">
            <a:gsLst>
              <a:gs pos="3000">
                <a:srgbClr val="00B3C8"/>
              </a:gs>
              <a:gs pos="66000">
                <a:srgbClr val="1E50A0"/>
              </a:gs>
            </a:gsLst>
            <a:lin ang="1800000" scaled="0"/>
            <a:tileRect/>
          </a:gra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buNone/>
              <a:defRPr sz="2400" b="1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485615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B5EE2C-2E12-0446-A0A3-595BCEA552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AC8D0D6-D6AB-2646-8286-0BD75CEC4B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D6C15B-29E3-074D-9DB4-476B65A966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654BE0A5-7F43-486F-82B4-5134C45E57B7}"/>
              </a:ext>
            </a:extLst>
          </p:cNvPr>
          <p:cNvSpPr txBox="1">
            <a:spLocks/>
          </p:cNvSpPr>
          <p:nvPr userDrawn="1"/>
        </p:nvSpPr>
        <p:spPr>
          <a:xfrm>
            <a:off x="1" y="-44464"/>
            <a:ext cx="12192001" cy="835574"/>
          </a:xfrm>
          <a:prstGeom prst="rect">
            <a:avLst/>
          </a:prstGeom>
          <a:gradFill flip="none" rotWithShape="1">
            <a:gsLst>
              <a:gs pos="3000">
                <a:srgbClr val="00B3C8"/>
              </a:gs>
              <a:gs pos="66000">
                <a:srgbClr val="1E50A0"/>
              </a:gs>
            </a:gsLst>
            <a:lin ang="1800000" scaled="0"/>
            <a:tileRect/>
          </a:gra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buNone/>
              <a:defRPr sz="2400" b="1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808399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C2D7A94-F8BC-724A-8624-87E4544B747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BA31D25-F0A8-A048-B4F6-070170CA4D2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F9029F-1F48-7948-8C7B-4A6A06C3E9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A9AE9D33-AAB4-4D87-8D8D-2DBFC572C8CB}"/>
              </a:ext>
            </a:extLst>
          </p:cNvPr>
          <p:cNvSpPr txBox="1">
            <a:spLocks/>
          </p:cNvSpPr>
          <p:nvPr userDrawn="1"/>
        </p:nvSpPr>
        <p:spPr>
          <a:xfrm>
            <a:off x="1" y="-44464"/>
            <a:ext cx="12192001" cy="835574"/>
          </a:xfrm>
          <a:prstGeom prst="rect">
            <a:avLst/>
          </a:prstGeom>
          <a:gradFill flip="none" rotWithShape="1">
            <a:gsLst>
              <a:gs pos="3000">
                <a:srgbClr val="00B3C8"/>
              </a:gs>
              <a:gs pos="66000">
                <a:srgbClr val="1E50A0"/>
              </a:gs>
            </a:gsLst>
            <a:lin ang="1800000" scaled="0"/>
            <a:tileRect/>
          </a:gra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buNone/>
              <a:defRPr sz="2400" b="1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934812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2177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29325" y="622800"/>
            <a:ext cx="10933350" cy="332399"/>
          </a:xfrm>
        </p:spPr>
        <p:txBody>
          <a:bodyPr lIns="0" tIns="0" rIns="0" bIns="0" anchor="t">
            <a:noAutofit/>
          </a:bodyPr>
          <a:lstStyle>
            <a:lvl1pPr>
              <a:defRPr sz="2400">
                <a:solidFill>
                  <a:srgbClr val="1E50A0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942B26D-D32A-4775-9B53-DD7431EA4C50}"/>
              </a:ext>
            </a:extLst>
          </p:cNvPr>
          <p:cNvSpPr txBox="1">
            <a:spLocks/>
          </p:cNvSpPr>
          <p:nvPr userDrawn="1"/>
        </p:nvSpPr>
        <p:spPr>
          <a:xfrm>
            <a:off x="1" y="-44464"/>
            <a:ext cx="12192001" cy="835574"/>
          </a:xfrm>
          <a:prstGeom prst="rect">
            <a:avLst/>
          </a:prstGeom>
          <a:gradFill flip="none" rotWithShape="1">
            <a:gsLst>
              <a:gs pos="3000">
                <a:srgbClr val="00B3C8"/>
              </a:gs>
              <a:gs pos="66000">
                <a:srgbClr val="1E50A0"/>
              </a:gs>
            </a:gsLst>
            <a:lin ang="1800000" scaled="0"/>
            <a:tileRect/>
          </a:gra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buNone/>
              <a:defRPr sz="2400" b="1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7742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1799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5CBD3E-3D7F-8AD6-DD0C-FD4665A6AC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9647AE-42A6-8EA3-E802-5A521D9A0B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A4B3D8-32B7-5E85-5B1C-C27B430EC0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569692-3643-56F9-313E-136A668ED6F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BE92D2-43E4-5F6E-A097-27B4FAA72F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6CCCA1E-C193-6544-7D29-344900FD76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E601B-A405-42B7-A12E-F2958C472A85}" type="datetimeFigureOut">
              <a:rPr lang="en-US" smtClean="0"/>
              <a:t>7/29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C58AD62-9673-A08C-0BBD-8B79A05F8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7CEF63A-5E4F-A22D-6524-A54707AF2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3F869B-54F5-4CDE-B4AE-C76CD30A5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0768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C9D324-612D-22A2-57DD-05F6518BA6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47968F-A002-20C2-3F44-16A27825AD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E601B-A405-42B7-A12E-F2958C472A85}" type="datetimeFigureOut">
              <a:rPr lang="en-US" smtClean="0"/>
              <a:t>7/29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7FF644-EBE9-275C-0F2D-60009C402C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EBE3562-BD4D-82A8-ECDC-F76E632DA1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3F869B-54F5-4CDE-B4AE-C76CD30A5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9586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903D3B-1956-C199-28A6-BCE09F7E4F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E601B-A405-42B7-A12E-F2958C472A85}" type="datetimeFigureOut">
              <a:rPr lang="en-US" smtClean="0"/>
              <a:t>7/29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1C00B9-7B06-8D10-1BD2-4551AA8A3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2F029A-4786-77E0-DFC2-5CA9D0D14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3F869B-54F5-4CDE-B4AE-C76CD30A5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6332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51DA01-6FEA-16EE-F4AB-30ABFF55EB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84A5EB-E3F3-6EF1-1FCB-92D39541A2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4D1B62-762E-6250-4616-B33984856A6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F888BDA-A4BF-5A0F-92A2-71B5D3BC6E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E601B-A405-42B7-A12E-F2958C472A85}" type="datetimeFigureOut">
              <a:rPr lang="en-US" smtClean="0"/>
              <a:t>7/29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D11856-E986-A6F1-900B-3283098829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F75D6EE-8029-4448-8C3E-1BEB085C27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3F869B-54F5-4CDE-B4AE-C76CD30A5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8606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C2EB59-91D1-6AAD-1DDB-FE59D5D8B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2CC540-DD6D-103C-4866-633691E4232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D6C410-749F-A337-E3C0-5B0681FABB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B9A84DD-B5F7-E07E-D8F6-51DAED9604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E601B-A405-42B7-A12E-F2958C472A85}" type="datetimeFigureOut">
              <a:rPr lang="en-US" smtClean="0"/>
              <a:t>7/29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5D146F-E916-2811-8080-991FEAFFD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082876-0918-6C4E-3FF8-0579EF82E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3F869B-54F5-4CDE-B4AE-C76CD30A5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4957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18.xml"/><Relationship Id="rId16" Type="http://schemas.openxmlformats.org/officeDocument/2006/relationships/theme" Target="../theme/theme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tags" Target="../tags/tag10.xml"/><Relationship Id="rId3" Type="http://schemas.openxmlformats.org/officeDocument/2006/relationships/slideLayout" Target="../slideLayouts/slideLayout34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33.xml"/><Relationship Id="rId16" Type="http://schemas.openxmlformats.org/officeDocument/2006/relationships/theme" Target="../theme/theme3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1.xml"/><Relationship Id="rId19" Type="http://schemas.openxmlformats.org/officeDocument/2006/relationships/oleObject" Target="../embeddings/oleObject5.bin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54FE06F-313A-283D-F27B-091B8A2AAA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119399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4" progId="TCLayout.ActiveDocument.1">
                  <p:embed/>
                </p:oleObj>
              </mc:Choice>
              <mc:Fallback>
                <p:oleObj name="think-cell Slide" r:id="rId19" imgW="395" imgH="39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4FE06F-313A-283D-F27B-091B8A2AAA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C2D6F8E-1C95-FD5E-8182-2DA82E18A1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E72C64-7CCC-E731-C62E-FED0C86EB7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2E601B-A405-42B7-A12E-F2958C472A85}" type="datetimeFigureOut">
              <a:rPr lang="en-US" smtClean="0"/>
              <a:t>7/29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CE7EAF-21AF-F3BF-0CE2-3CF9D57E5F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4F4D8E-384D-9372-1B8A-CAA07BA84B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3F869B-54F5-4CDE-B4AE-C76CD30A5C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357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4" r:id="rId15"/>
    <p:sldLayoutId id="2147483665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664A759-7EA3-4AB4-857E-0E603D1483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493104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4" progId="TCLayout.ActiveDocument.1">
                  <p:embed/>
                </p:oleObj>
              </mc:Choice>
              <mc:Fallback>
                <p:oleObj name="think-cell Slide" r:id="rId1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664A759-7EA3-4AB4-857E-0E603D1483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B796E1-EF49-4ED4-B510-934D85C1873F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33A4AAF-4282-9F42-8F79-15F2AF7D45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2770DB9-4B15-42EB-A13E-7F19B282417D}"/>
              </a:ext>
            </a:extLst>
          </p:cNvPr>
          <p:cNvGrpSpPr/>
          <p:nvPr userDrawn="1"/>
        </p:nvGrpSpPr>
        <p:grpSpPr>
          <a:xfrm>
            <a:off x="43963" y="6314471"/>
            <a:ext cx="12074730" cy="531294"/>
            <a:chOff x="43963" y="6314471"/>
            <a:chExt cx="12074730" cy="531294"/>
          </a:xfrm>
        </p:grpSpPr>
        <p:pic>
          <p:nvPicPr>
            <p:cNvPr id="14" name="Picture 13" descr="Icon&#10;&#10;Description automatically generated">
              <a:extLst>
                <a:ext uri="{FF2B5EF4-FFF2-40B4-BE49-F238E27FC236}">
                  <a16:creationId xmlns:a16="http://schemas.microsoft.com/office/drawing/2014/main" id="{2146D63E-8AA3-4622-A351-63B2199F14A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713696" y="6374460"/>
              <a:ext cx="438283" cy="366934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5CB790D4-AA23-4C5F-B793-59514517D538}"/>
                </a:ext>
              </a:extLst>
            </p:cNvPr>
            <p:cNvGrpSpPr/>
            <p:nvPr userDrawn="1"/>
          </p:nvGrpSpPr>
          <p:grpSpPr>
            <a:xfrm>
              <a:off x="43963" y="6314471"/>
              <a:ext cx="12074730" cy="531294"/>
              <a:chOff x="43963" y="6314471"/>
              <a:chExt cx="12074730" cy="531294"/>
            </a:xfrm>
          </p:grpSpPr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0731E20B-F921-4121-89AC-1E83913002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3963" y="6685517"/>
                <a:ext cx="3341077" cy="0"/>
              </a:xfrm>
              <a:prstGeom prst="line">
                <a:avLst/>
              </a:prstGeom>
              <a:ln w="57150">
                <a:solidFill>
                  <a:srgbClr val="1D519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BCE457C8-A626-4298-B5B9-4EF5E51429D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72257" y="6685517"/>
                <a:ext cx="3341077" cy="0"/>
              </a:xfrm>
              <a:prstGeom prst="line">
                <a:avLst/>
              </a:prstGeom>
              <a:ln w="57150">
                <a:solidFill>
                  <a:srgbClr val="00B3C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E1B880AD-8373-4EAB-A3FF-EB4FDAD4B7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318135" y="6685517"/>
                <a:ext cx="3341077" cy="0"/>
              </a:xfrm>
              <a:prstGeom prst="line">
                <a:avLst/>
              </a:prstGeom>
              <a:ln w="57150">
                <a:solidFill>
                  <a:srgbClr val="93D6E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510458C2-82E7-4468-A65A-D7C2A6616458}"/>
                  </a:ext>
                </a:extLst>
              </p:cNvPr>
              <p:cNvPicPr/>
              <p:nvPr userDrawn="1"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932507" y="6314471"/>
                <a:ext cx="1186186" cy="531294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D710E606-F170-487A-B00B-79DCE604F2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18032" y="6360193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r>
              <a:rPr lang="en-IN" dirty="0"/>
              <a:t>ICEMA | Monthly Industry Update  </a:t>
            </a:r>
          </a:p>
          <a:p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407766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664A759-7EA3-4AB4-857E-0E603D1483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493104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4" progId="TCLayout.ActiveDocument.1">
                  <p:embed/>
                </p:oleObj>
              </mc:Choice>
              <mc:Fallback>
                <p:oleObj name="think-cell Slide" r:id="rId1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664A759-7EA3-4AB4-857E-0E603D1483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B796E1-EF49-4ED4-B510-934D85C1873F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33A4AAF-4282-9F42-8F79-15F2AF7D45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2770DB9-4B15-42EB-A13E-7F19B282417D}"/>
              </a:ext>
            </a:extLst>
          </p:cNvPr>
          <p:cNvGrpSpPr/>
          <p:nvPr userDrawn="1"/>
        </p:nvGrpSpPr>
        <p:grpSpPr>
          <a:xfrm>
            <a:off x="43963" y="6314471"/>
            <a:ext cx="12074730" cy="531294"/>
            <a:chOff x="43963" y="6314471"/>
            <a:chExt cx="12074730" cy="531294"/>
          </a:xfrm>
        </p:grpSpPr>
        <p:pic>
          <p:nvPicPr>
            <p:cNvPr id="14" name="Picture 13" descr="Icon&#10;&#10;Description automatically generated">
              <a:extLst>
                <a:ext uri="{FF2B5EF4-FFF2-40B4-BE49-F238E27FC236}">
                  <a16:creationId xmlns:a16="http://schemas.microsoft.com/office/drawing/2014/main" id="{2146D63E-8AA3-4622-A351-63B2199F14A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713696" y="6374460"/>
              <a:ext cx="438283" cy="366934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5CB790D4-AA23-4C5F-B793-59514517D538}"/>
                </a:ext>
              </a:extLst>
            </p:cNvPr>
            <p:cNvGrpSpPr/>
            <p:nvPr userDrawn="1"/>
          </p:nvGrpSpPr>
          <p:grpSpPr>
            <a:xfrm>
              <a:off x="43963" y="6314471"/>
              <a:ext cx="12074730" cy="531294"/>
              <a:chOff x="43963" y="6314471"/>
              <a:chExt cx="12074730" cy="531294"/>
            </a:xfrm>
          </p:grpSpPr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0731E20B-F921-4121-89AC-1E83913002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3963" y="6685517"/>
                <a:ext cx="3341077" cy="0"/>
              </a:xfrm>
              <a:prstGeom prst="line">
                <a:avLst/>
              </a:prstGeom>
              <a:ln w="57150">
                <a:solidFill>
                  <a:srgbClr val="1D519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BCE457C8-A626-4298-B5B9-4EF5E51429D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672257" y="6685517"/>
                <a:ext cx="3341077" cy="0"/>
              </a:xfrm>
              <a:prstGeom prst="line">
                <a:avLst/>
              </a:prstGeom>
              <a:ln w="57150">
                <a:solidFill>
                  <a:srgbClr val="00B3C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E1B880AD-8373-4EAB-A3FF-EB4FDAD4B7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318135" y="6685517"/>
                <a:ext cx="3341077" cy="0"/>
              </a:xfrm>
              <a:prstGeom prst="line">
                <a:avLst/>
              </a:prstGeom>
              <a:ln w="57150">
                <a:solidFill>
                  <a:srgbClr val="93D6E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510458C2-82E7-4468-A65A-D7C2A6616458}"/>
                  </a:ext>
                </a:extLst>
              </p:cNvPr>
              <p:cNvPicPr/>
              <p:nvPr userDrawn="1"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932507" y="6314471"/>
                <a:ext cx="1186186" cy="531294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D710E606-F170-487A-B00B-79DCE604F2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18032" y="6360193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r>
              <a:rPr lang="en-IN"/>
              <a:t>Page No. :   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353316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6" Type="http://schemas.openxmlformats.org/officeDocument/2006/relationships/tags" Target="../tags/tag453.xml"/><Relationship Id="rId21" Type="http://schemas.openxmlformats.org/officeDocument/2006/relationships/tags" Target="../tags/tag448.xml"/><Relationship Id="rId42" Type="http://schemas.openxmlformats.org/officeDocument/2006/relationships/tags" Target="../tags/tag469.xml"/><Relationship Id="rId47" Type="http://schemas.openxmlformats.org/officeDocument/2006/relationships/tags" Target="../tags/tag474.xml"/><Relationship Id="rId63" Type="http://schemas.openxmlformats.org/officeDocument/2006/relationships/tags" Target="../tags/tag490.xml"/><Relationship Id="rId68" Type="http://schemas.openxmlformats.org/officeDocument/2006/relationships/tags" Target="../tags/tag495.xml"/><Relationship Id="rId84" Type="http://schemas.openxmlformats.org/officeDocument/2006/relationships/tags" Target="../tags/tag511.xml"/><Relationship Id="rId89" Type="http://schemas.openxmlformats.org/officeDocument/2006/relationships/tags" Target="../tags/tag516.xml"/><Relationship Id="rId16" Type="http://schemas.openxmlformats.org/officeDocument/2006/relationships/tags" Target="../tags/tag443.xml"/><Relationship Id="rId107" Type="http://schemas.openxmlformats.org/officeDocument/2006/relationships/chart" Target="../charts/chart22.xml"/><Relationship Id="rId11" Type="http://schemas.openxmlformats.org/officeDocument/2006/relationships/tags" Target="../tags/tag438.xml"/><Relationship Id="rId32" Type="http://schemas.openxmlformats.org/officeDocument/2006/relationships/tags" Target="../tags/tag459.xml"/><Relationship Id="rId37" Type="http://schemas.openxmlformats.org/officeDocument/2006/relationships/tags" Target="../tags/tag464.xml"/><Relationship Id="rId53" Type="http://schemas.openxmlformats.org/officeDocument/2006/relationships/tags" Target="../tags/tag480.xml"/><Relationship Id="rId58" Type="http://schemas.openxmlformats.org/officeDocument/2006/relationships/tags" Target="../tags/tag485.xml"/><Relationship Id="rId74" Type="http://schemas.openxmlformats.org/officeDocument/2006/relationships/tags" Target="../tags/tag501.xml"/><Relationship Id="rId79" Type="http://schemas.openxmlformats.org/officeDocument/2006/relationships/tags" Target="../tags/tag506.xml"/><Relationship Id="rId102" Type="http://schemas.openxmlformats.org/officeDocument/2006/relationships/tags" Target="../tags/tag529.xml"/><Relationship Id="rId5" Type="http://schemas.openxmlformats.org/officeDocument/2006/relationships/tags" Target="../tags/tag432.xml"/><Relationship Id="rId90" Type="http://schemas.openxmlformats.org/officeDocument/2006/relationships/tags" Target="../tags/tag517.xml"/><Relationship Id="rId95" Type="http://schemas.openxmlformats.org/officeDocument/2006/relationships/tags" Target="../tags/tag522.xml"/><Relationship Id="rId22" Type="http://schemas.openxmlformats.org/officeDocument/2006/relationships/tags" Target="../tags/tag449.xml"/><Relationship Id="rId27" Type="http://schemas.openxmlformats.org/officeDocument/2006/relationships/tags" Target="../tags/tag454.xml"/><Relationship Id="rId43" Type="http://schemas.openxmlformats.org/officeDocument/2006/relationships/tags" Target="../tags/tag470.xml"/><Relationship Id="rId48" Type="http://schemas.openxmlformats.org/officeDocument/2006/relationships/tags" Target="../tags/tag475.xml"/><Relationship Id="rId64" Type="http://schemas.openxmlformats.org/officeDocument/2006/relationships/tags" Target="../tags/tag491.xml"/><Relationship Id="rId69" Type="http://schemas.openxmlformats.org/officeDocument/2006/relationships/tags" Target="../tags/tag496.xml"/><Relationship Id="rId80" Type="http://schemas.openxmlformats.org/officeDocument/2006/relationships/tags" Target="../tags/tag507.xml"/><Relationship Id="rId85" Type="http://schemas.openxmlformats.org/officeDocument/2006/relationships/tags" Target="../tags/tag512.xml"/><Relationship Id="rId12" Type="http://schemas.openxmlformats.org/officeDocument/2006/relationships/tags" Target="../tags/tag439.xml"/><Relationship Id="rId17" Type="http://schemas.openxmlformats.org/officeDocument/2006/relationships/tags" Target="../tags/tag444.xml"/><Relationship Id="rId33" Type="http://schemas.openxmlformats.org/officeDocument/2006/relationships/tags" Target="../tags/tag460.xml"/><Relationship Id="rId38" Type="http://schemas.openxmlformats.org/officeDocument/2006/relationships/tags" Target="../tags/tag465.xml"/><Relationship Id="rId59" Type="http://schemas.openxmlformats.org/officeDocument/2006/relationships/tags" Target="../tags/tag486.xml"/><Relationship Id="rId103" Type="http://schemas.openxmlformats.org/officeDocument/2006/relationships/tags" Target="../tags/tag530.xml"/><Relationship Id="rId108" Type="http://schemas.openxmlformats.org/officeDocument/2006/relationships/chart" Target="../charts/chart23.xml"/><Relationship Id="rId20" Type="http://schemas.openxmlformats.org/officeDocument/2006/relationships/tags" Target="../tags/tag447.xml"/><Relationship Id="rId41" Type="http://schemas.openxmlformats.org/officeDocument/2006/relationships/tags" Target="../tags/tag468.xml"/><Relationship Id="rId54" Type="http://schemas.openxmlformats.org/officeDocument/2006/relationships/tags" Target="../tags/tag481.xml"/><Relationship Id="rId62" Type="http://schemas.openxmlformats.org/officeDocument/2006/relationships/tags" Target="../tags/tag489.xml"/><Relationship Id="rId70" Type="http://schemas.openxmlformats.org/officeDocument/2006/relationships/tags" Target="../tags/tag497.xml"/><Relationship Id="rId75" Type="http://schemas.openxmlformats.org/officeDocument/2006/relationships/tags" Target="../tags/tag502.xml"/><Relationship Id="rId83" Type="http://schemas.openxmlformats.org/officeDocument/2006/relationships/tags" Target="../tags/tag510.xml"/><Relationship Id="rId88" Type="http://schemas.openxmlformats.org/officeDocument/2006/relationships/tags" Target="../tags/tag515.xml"/><Relationship Id="rId91" Type="http://schemas.openxmlformats.org/officeDocument/2006/relationships/tags" Target="../tags/tag518.xml"/><Relationship Id="rId96" Type="http://schemas.openxmlformats.org/officeDocument/2006/relationships/tags" Target="../tags/tag523.xml"/><Relationship Id="rId1" Type="http://schemas.openxmlformats.org/officeDocument/2006/relationships/tags" Target="../tags/tag428.xml"/><Relationship Id="rId6" Type="http://schemas.openxmlformats.org/officeDocument/2006/relationships/tags" Target="../tags/tag433.xml"/><Relationship Id="rId15" Type="http://schemas.openxmlformats.org/officeDocument/2006/relationships/tags" Target="../tags/tag442.xml"/><Relationship Id="rId23" Type="http://schemas.openxmlformats.org/officeDocument/2006/relationships/tags" Target="../tags/tag450.xml"/><Relationship Id="rId28" Type="http://schemas.openxmlformats.org/officeDocument/2006/relationships/tags" Target="../tags/tag455.xml"/><Relationship Id="rId36" Type="http://schemas.openxmlformats.org/officeDocument/2006/relationships/tags" Target="../tags/tag463.xml"/><Relationship Id="rId49" Type="http://schemas.openxmlformats.org/officeDocument/2006/relationships/tags" Target="../tags/tag476.xml"/><Relationship Id="rId57" Type="http://schemas.openxmlformats.org/officeDocument/2006/relationships/tags" Target="../tags/tag484.xml"/><Relationship Id="rId106" Type="http://schemas.openxmlformats.org/officeDocument/2006/relationships/image" Target="../media/image12.emf"/><Relationship Id="rId10" Type="http://schemas.openxmlformats.org/officeDocument/2006/relationships/tags" Target="../tags/tag437.xml"/><Relationship Id="rId31" Type="http://schemas.openxmlformats.org/officeDocument/2006/relationships/tags" Target="../tags/tag458.xml"/><Relationship Id="rId44" Type="http://schemas.openxmlformats.org/officeDocument/2006/relationships/tags" Target="../tags/tag471.xml"/><Relationship Id="rId52" Type="http://schemas.openxmlformats.org/officeDocument/2006/relationships/tags" Target="../tags/tag479.xml"/><Relationship Id="rId60" Type="http://schemas.openxmlformats.org/officeDocument/2006/relationships/tags" Target="../tags/tag487.xml"/><Relationship Id="rId65" Type="http://schemas.openxmlformats.org/officeDocument/2006/relationships/tags" Target="../tags/tag492.xml"/><Relationship Id="rId73" Type="http://schemas.openxmlformats.org/officeDocument/2006/relationships/tags" Target="../tags/tag500.xml"/><Relationship Id="rId78" Type="http://schemas.openxmlformats.org/officeDocument/2006/relationships/tags" Target="../tags/tag505.xml"/><Relationship Id="rId81" Type="http://schemas.openxmlformats.org/officeDocument/2006/relationships/tags" Target="../tags/tag508.xml"/><Relationship Id="rId86" Type="http://schemas.openxmlformats.org/officeDocument/2006/relationships/tags" Target="../tags/tag513.xml"/><Relationship Id="rId94" Type="http://schemas.openxmlformats.org/officeDocument/2006/relationships/tags" Target="../tags/tag521.xml"/><Relationship Id="rId99" Type="http://schemas.openxmlformats.org/officeDocument/2006/relationships/tags" Target="../tags/tag526.xml"/><Relationship Id="rId101" Type="http://schemas.openxmlformats.org/officeDocument/2006/relationships/tags" Target="../tags/tag528.xml"/><Relationship Id="rId4" Type="http://schemas.openxmlformats.org/officeDocument/2006/relationships/tags" Target="../tags/tag431.xml"/><Relationship Id="rId9" Type="http://schemas.openxmlformats.org/officeDocument/2006/relationships/tags" Target="../tags/tag436.xml"/><Relationship Id="rId13" Type="http://schemas.openxmlformats.org/officeDocument/2006/relationships/tags" Target="../tags/tag440.xml"/><Relationship Id="rId18" Type="http://schemas.openxmlformats.org/officeDocument/2006/relationships/tags" Target="../tags/tag445.xml"/><Relationship Id="rId39" Type="http://schemas.openxmlformats.org/officeDocument/2006/relationships/tags" Target="../tags/tag466.xml"/><Relationship Id="rId34" Type="http://schemas.openxmlformats.org/officeDocument/2006/relationships/tags" Target="../tags/tag461.xml"/><Relationship Id="rId50" Type="http://schemas.openxmlformats.org/officeDocument/2006/relationships/tags" Target="../tags/tag477.xml"/><Relationship Id="rId55" Type="http://schemas.openxmlformats.org/officeDocument/2006/relationships/tags" Target="../tags/tag482.xml"/><Relationship Id="rId76" Type="http://schemas.openxmlformats.org/officeDocument/2006/relationships/tags" Target="../tags/tag503.xml"/><Relationship Id="rId97" Type="http://schemas.openxmlformats.org/officeDocument/2006/relationships/tags" Target="../tags/tag524.xml"/><Relationship Id="rId104" Type="http://schemas.openxmlformats.org/officeDocument/2006/relationships/slideLayout" Target="../slideLayouts/slideLayout15.xml"/><Relationship Id="rId7" Type="http://schemas.openxmlformats.org/officeDocument/2006/relationships/tags" Target="../tags/tag434.xml"/><Relationship Id="rId71" Type="http://schemas.openxmlformats.org/officeDocument/2006/relationships/tags" Target="../tags/tag498.xml"/><Relationship Id="rId92" Type="http://schemas.openxmlformats.org/officeDocument/2006/relationships/tags" Target="../tags/tag519.xml"/><Relationship Id="rId2" Type="http://schemas.openxmlformats.org/officeDocument/2006/relationships/tags" Target="../tags/tag429.xml"/><Relationship Id="rId29" Type="http://schemas.openxmlformats.org/officeDocument/2006/relationships/tags" Target="../tags/tag456.xml"/><Relationship Id="rId24" Type="http://schemas.openxmlformats.org/officeDocument/2006/relationships/tags" Target="../tags/tag451.xml"/><Relationship Id="rId40" Type="http://schemas.openxmlformats.org/officeDocument/2006/relationships/tags" Target="../tags/tag467.xml"/><Relationship Id="rId45" Type="http://schemas.openxmlformats.org/officeDocument/2006/relationships/tags" Target="../tags/tag472.xml"/><Relationship Id="rId66" Type="http://schemas.openxmlformats.org/officeDocument/2006/relationships/tags" Target="../tags/tag493.xml"/><Relationship Id="rId87" Type="http://schemas.openxmlformats.org/officeDocument/2006/relationships/tags" Target="../tags/tag514.xml"/><Relationship Id="rId61" Type="http://schemas.openxmlformats.org/officeDocument/2006/relationships/tags" Target="../tags/tag488.xml"/><Relationship Id="rId82" Type="http://schemas.openxmlformats.org/officeDocument/2006/relationships/tags" Target="../tags/tag509.xml"/><Relationship Id="rId19" Type="http://schemas.openxmlformats.org/officeDocument/2006/relationships/tags" Target="../tags/tag446.xml"/><Relationship Id="rId14" Type="http://schemas.openxmlformats.org/officeDocument/2006/relationships/tags" Target="../tags/tag441.xml"/><Relationship Id="rId30" Type="http://schemas.openxmlformats.org/officeDocument/2006/relationships/tags" Target="../tags/tag457.xml"/><Relationship Id="rId35" Type="http://schemas.openxmlformats.org/officeDocument/2006/relationships/tags" Target="../tags/tag462.xml"/><Relationship Id="rId56" Type="http://schemas.openxmlformats.org/officeDocument/2006/relationships/tags" Target="../tags/tag483.xml"/><Relationship Id="rId77" Type="http://schemas.openxmlformats.org/officeDocument/2006/relationships/tags" Target="../tags/tag504.xml"/><Relationship Id="rId100" Type="http://schemas.openxmlformats.org/officeDocument/2006/relationships/tags" Target="../tags/tag527.xml"/><Relationship Id="rId105" Type="http://schemas.openxmlformats.org/officeDocument/2006/relationships/oleObject" Target="../embeddings/oleObject11.bin"/><Relationship Id="rId8" Type="http://schemas.openxmlformats.org/officeDocument/2006/relationships/tags" Target="../tags/tag435.xml"/><Relationship Id="rId51" Type="http://schemas.openxmlformats.org/officeDocument/2006/relationships/tags" Target="../tags/tag478.xml"/><Relationship Id="rId72" Type="http://schemas.openxmlformats.org/officeDocument/2006/relationships/tags" Target="../tags/tag499.xml"/><Relationship Id="rId93" Type="http://schemas.openxmlformats.org/officeDocument/2006/relationships/tags" Target="../tags/tag520.xml"/><Relationship Id="rId98" Type="http://schemas.openxmlformats.org/officeDocument/2006/relationships/tags" Target="../tags/tag525.xml"/><Relationship Id="rId3" Type="http://schemas.openxmlformats.org/officeDocument/2006/relationships/tags" Target="../tags/tag430.xml"/><Relationship Id="rId25" Type="http://schemas.openxmlformats.org/officeDocument/2006/relationships/tags" Target="../tags/tag452.xml"/><Relationship Id="rId46" Type="http://schemas.openxmlformats.org/officeDocument/2006/relationships/tags" Target="../tags/tag473.xml"/><Relationship Id="rId67" Type="http://schemas.openxmlformats.org/officeDocument/2006/relationships/tags" Target="../tags/tag494.xml"/></Relationships>
</file>

<file path=ppt/slides/_rels/slide11.xml.rels><?xml version="1.0" encoding="UTF-8" standalone="yes"?>
<Relationships xmlns="http://schemas.openxmlformats.org/package/2006/relationships"><Relationship Id="rId117" Type="http://schemas.openxmlformats.org/officeDocument/2006/relationships/tags" Target="../tags/tag647.xml"/><Relationship Id="rId21" Type="http://schemas.openxmlformats.org/officeDocument/2006/relationships/tags" Target="../tags/tag551.xml"/><Relationship Id="rId42" Type="http://schemas.openxmlformats.org/officeDocument/2006/relationships/tags" Target="../tags/tag572.xml"/><Relationship Id="rId63" Type="http://schemas.openxmlformats.org/officeDocument/2006/relationships/tags" Target="../tags/tag593.xml"/><Relationship Id="rId84" Type="http://schemas.openxmlformats.org/officeDocument/2006/relationships/tags" Target="../tags/tag614.xml"/><Relationship Id="rId138" Type="http://schemas.openxmlformats.org/officeDocument/2006/relationships/chart" Target="../charts/chart26.xml"/><Relationship Id="rId16" Type="http://schemas.openxmlformats.org/officeDocument/2006/relationships/tags" Target="../tags/tag546.xml"/><Relationship Id="rId107" Type="http://schemas.openxmlformats.org/officeDocument/2006/relationships/tags" Target="../tags/tag637.xml"/><Relationship Id="rId11" Type="http://schemas.openxmlformats.org/officeDocument/2006/relationships/tags" Target="../tags/tag541.xml"/><Relationship Id="rId32" Type="http://schemas.openxmlformats.org/officeDocument/2006/relationships/tags" Target="../tags/tag562.xml"/><Relationship Id="rId37" Type="http://schemas.openxmlformats.org/officeDocument/2006/relationships/tags" Target="../tags/tag567.xml"/><Relationship Id="rId53" Type="http://schemas.openxmlformats.org/officeDocument/2006/relationships/tags" Target="../tags/tag583.xml"/><Relationship Id="rId58" Type="http://schemas.openxmlformats.org/officeDocument/2006/relationships/tags" Target="../tags/tag588.xml"/><Relationship Id="rId74" Type="http://schemas.openxmlformats.org/officeDocument/2006/relationships/tags" Target="../tags/tag604.xml"/><Relationship Id="rId79" Type="http://schemas.openxmlformats.org/officeDocument/2006/relationships/tags" Target="../tags/tag609.xml"/><Relationship Id="rId102" Type="http://schemas.openxmlformats.org/officeDocument/2006/relationships/tags" Target="../tags/tag632.xml"/><Relationship Id="rId123" Type="http://schemas.openxmlformats.org/officeDocument/2006/relationships/tags" Target="../tags/tag653.xml"/><Relationship Id="rId128" Type="http://schemas.openxmlformats.org/officeDocument/2006/relationships/tags" Target="../tags/tag658.xml"/><Relationship Id="rId5" Type="http://schemas.openxmlformats.org/officeDocument/2006/relationships/tags" Target="../tags/tag535.xml"/><Relationship Id="rId90" Type="http://schemas.openxmlformats.org/officeDocument/2006/relationships/tags" Target="../tags/tag620.xml"/><Relationship Id="rId95" Type="http://schemas.openxmlformats.org/officeDocument/2006/relationships/tags" Target="../tags/tag625.xml"/><Relationship Id="rId22" Type="http://schemas.openxmlformats.org/officeDocument/2006/relationships/tags" Target="../tags/tag552.xml"/><Relationship Id="rId27" Type="http://schemas.openxmlformats.org/officeDocument/2006/relationships/tags" Target="../tags/tag557.xml"/><Relationship Id="rId43" Type="http://schemas.openxmlformats.org/officeDocument/2006/relationships/tags" Target="../tags/tag573.xml"/><Relationship Id="rId48" Type="http://schemas.openxmlformats.org/officeDocument/2006/relationships/tags" Target="../tags/tag578.xml"/><Relationship Id="rId64" Type="http://schemas.openxmlformats.org/officeDocument/2006/relationships/tags" Target="../tags/tag594.xml"/><Relationship Id="rId69" Type="http://schemas.openxmlformats.org/officeDocument/2006/relationships/tags" Target="../tags/tag599.xml"/><Relationship Id="rId113" Type="http://schemas.openxmlformats.org/officeDocument/2006/relationships/tags" Target="../tags/tag643.xml"/><Relationship Id="rId118" Type="http://schemas.openxmlformats.org/officeDocument/2006/relationships/tags" Target="../tags/tag648.xml"/><Relationship Id="rId134" Type="http://schemas.openxmlformats.org/officeDocument/2006/relationships/oleObject" Target="../embeddings/oleObject12.bin"/><Relationship Id="rId80" Type="http://schemas.openxmlformats.org/officeDocument/2006/relationships/tags" Target="../tags/tag610.xml"/><Relationship Id="rId85" Type="http://schemas.openxmlformats.org/officeDocument/2006/relationships/tags" Target="../tags/tag615.xml"/><Relationship Id="rId12" Type="http://schemas.openxmlformats.org/officeDocument/2006/relationships/tags" Target="../tags/tag542.xml"/><Relationship Id="rId17" Type="http://schemas.openxmlformats.org/officeDocument/2006/relationships/tags" Target="../tags/tag547.xml"/><Relationship Id="rId33" Type="http://schemas.openxmlformats.org/officeDocument/2006/relationships/tags" Target="../tags/tag563.xml"/><Relationship Id="rId38" Type="http://schemas.openxmlformats.org/officeDocument/2006/relationships/tags" Target="../tags/tag568.xml"/><Relationship Id="rId59" Type="http://schemas.openxmlformats.org/officeDocument/2006/relationships/tags" Target="../tags/tag589.xml"/><Relationship Id="rId103" Type="http://schemas.openxmlformats.org/officeDocument/2006/relationships/tags" Target="../tags/tag633.xml"/><Relationship Id="rId108" Type="http://schemas.openxmlformats.org/officeDocument/2006/relationships/tags" Target="../tags/tag638.xml"/><Relationship Id="rId124" Type="http://schemas.openxmlformats.org/officeDocument/2006/relationships/tags" Target="../tags/tag654.xml"/><Relationship Id="rId129" Type="http://schemas.openxmlformats.org/officeDocument/2006/relationships/tags" Target="../tags/tag659.xml"/><Relationship Id="rId54" Type="http://schemas.openxmlformats.org/officeDocument/2006/relationships/tags" Target="../tags/tag584.xml"/><Relationship Id="rId70" Type="http://schemas.openxmlformats.org/officeDocument/2006/relationships/tags" Target="../tags/tag600.xml"/><Relationship Id="rId75" Type="http://schemas.openxmlformats.org/officeDocument/2006/relationships/tags" Target="../tags/tag605.xml"/><Relationship Id="rId91" Type="http://schemas.openxmlformats.org/officeDocument/2006/relationships/tags" Target="../tags/tag621.xml"/><Relationship Id="rId96" Type="http://schemas.openxmlformats.org/officeDocument/2006/relationships/tags" Target="../tags/tag626.xml"/><Relationship Id="rId1" Type="http://schemas.openxmlformats.org/officeDocument/2006/relationships/tags" Target="../tags/tag531.xml"/><Relationship Id="rId6" Type="http://schemas.openxmlformats.org/officeDocument/2006/relationships/tags" Target="../tags/tag536.xml"/><Relationship Id="rId23" Type="http://schemas.openxmlformats.org/officeDocument/2006/relationships/tags" Target="../tags/tag553.xml"/><Relationship Id="rId28" Type="http://schemas.openxmlformats.org/officeDocument/2006/relationships/tags" Target="../tags/tag558.xml"/><Relationship Id="rId49" Type="http://schemas.openxmlformats.org/officeDocument/2006/relationships/tags" Target="../tags/tag579.xml"/><Relationship Id="rId114" Type="http://schemas.openxmlformats.org/officeDocument/2006/relationships/tags" Target="../tags/tag644.xml"/><Relationship Id="rId119" Type="http://schemas.openxmlformats.org/officeDocument/2006/relationships/tags" Target="../tags/tag649.xml"/><Relationship Id="rId44" Type="http://schemas.openxmlformats.org/officeDocument/2006/relationships/tags" Target="../tags/tag574.xml"/><Relationship Id="rId60" Type="http://schemas.openxmlformats.org/officeDocument/2006/relationships/tags" Target="../tags/tag590.xml"/><Relationship Id="rId65" Type="http://schemas.openxmlformats.org/officeDocument/2006/relationships/tags" Target="../tags/tag595.xml"/><Relationship Id="rId81" Type="http://schemas.openxmlformats.org/officeDocument/2006/relationships/tags" Target="../tags/tag611.xml"/><Relationship Id="rId86" Type="http://schemas.openxmlformats.org/officeDocument/2006/relationships/tags" Target="../tags/tag616.xml"/><Relationship Id="rId130" Type="http://schemas.openxmlformats.org/officeDocument/2006/relationships/tags" Target="../tags/tag660.xml"/><Relationship Id="rId135" Type="http://schemas.openxmlformats.org/officeDocument/2006/relationships/image" Target="../media/image12.emf"/><Relationship Id="rId13" Type="http://schemas.openxmlformats.org/officeDocument/2006/relationships/tags" Target="../tags/tag543.xml"/><Relationship Id="rId18" Type="http://schemas.openxmlformats.org/officeDocument/2006/relationships/tags" Target="../tags/tag548.xml"/><Relationship Id="rId39" Type="http://schemas.openxmlformats.org/officeDocument/2006/relationships/tags" Target="../tags/tag569.xml"/><Relationship Id="rId109" Type="http://schemas.openxmlformats.org/officeDocument/2006/relationships/tags" Target="../tags/tag639.xml"/><Relationship Id="rId34" Type="http://schemas.openxmlformats.org/officeDocument/2006/relationships/tags" Target="../tags/tag564.xml"/><Relationship Id="rId50" Type="http://schemas.openxmlformats.org/officeDocument/2006/relationships/tags" Target="../tags/tag580.xml"/><Relationship Id="rId55" Type="http://schemas.openxmlformats.org/officeDocument/2006/relationships/tags" Target="../tags/tag585.xml"/><Relationship Id="rId76" Type="http://schemas.openxmlformats.org/officeDocument/2006/relationships/tags" Target="../tags/tag606.xml"/><Relationship Id="rId97" Type="http://schemas.openxmlformats.org/officeDocument/2006/relationships/tags" Target="../tags/tag627.xml"/><Relationship Id="rId104" Type="http://schemas.openxmlformats.org/officeDocument/2006/relationships/tags" Target="../tags/tag634.xml"/><Relationship Id="rId120" Type="http://schemas.openxmlformats.org/officeDocument/2006/relationships/tags" Target="../tags/tag650.xml"/><Relationship Id="rId125" Type="http://schemas.openxmlformats.org/officeDocument/2006/relationships/tags" Target="../tags/tag655.xml"/><Relationship Id="rId7" Type="http://schemas.openxmlformats.org/officeDocument/2006/relationships/tags" Target="../tags/tag537.xml"/><Relationship Id="rId71" Type="http://schemas.openxmlformats.org/officeDocument/2006/relationships/tags" Target="../tags/tag601.xml"/><Relationship Id="rId92" Type="http://schemas.openxmlformats.org/officeDocument/2006/relationships/tags" Target="../tags/tag622.xml"/><Relationship Id="rId2" Type="http://schemas.openxmlformats.org/officeDocument/2006/relationships/tags" Target="../tags/tag532.xml"/><Relationship Id="rId29" Type="http://schemas.openxmlformats.org/officeDocument/2006/relationships/tags" Target="../tags/tag559.xml"/><Relationship Id="rId24" Type="http://schemas.openxmlformats.org/officeDocument/2006/relationships/tags" Target="../tags/tag554.xml"/><Relationship Id="rId40" Type="http://schemas.openxmlformats.org/officeDocument/2006/relationships/tags" Target="../tags/tag570.xml"/><Relationship Id="rId45" Type="http://schemas.openxmlformats.org/officeDocument/2006/relationships/tags" Target="../tags/tag575.xml"/><Relationship Id="rId66" Type="http://schemas.openxmlformats.org/officeDocument/2006/relationships/tags" Target="../tags/tag596.xml"/><Relationship Id="rId87" Type="http://schemas.openxmlformats.org/officeDocument/2006/relationships/tags" Target="../tags/tag617.xml"/><Relationship Id="rId110" Type="http://schemas.openxmlformats.org/officeDocument/2006/relationships/tags" Target="../tags/tag640.xml"/><Relationship Id="rId115" Type="http://schemas.openxmlformats.org/officeDocument/2006/relationships/tags" Target="../tags/tag645.xml"/><Relationship Id="rId131" Type="http://schemas.openxmlformats.org/officeDocument/2006/relationships/tags" Target="../tags/tag661.xml"/><Relationship Id="rId136" Type="http://schemas.openxmlformats.org/officeDocument/2006/relationships/chart" Target="../charts/chart24.xml"/><Relationship Id="rId61" Type="http://schemas.openxmlformats.org/officeDocument/2006/relationships/tags" Target="../tags/tag591.xml"/><Relationship Id="rId82" Type="http://schemas.openxmlformats.org/officeDocument/2006/relationships/tags" Target="../tags/tag612.xml"/><Relationship Id="rId19" Type="http://schemas.openxmlformats.org/officeDocument/2006/relationships/tags" Target="../tags/tag549.xml"/><Relationship Id="rId14" Type="http://schemas.openxmlformats.org/officeDocument/2006/relationships/tags" Target="../tags/tag544.xml"/><Relationship Id="rId30" Type="http://schemas.openxmlformats.org/officeDocument/2006/relationships/tags" Target="../tags/tag560.xml"/><Relationship Id="rId35" Type="http://schemas.openxmlformats.org/officeDocument/2006/relationships/tags" Target="../tags/tag565.xml"/><Relationship Id="rId56" Type="http://schemas.openxmlformats.org/officeDocument/2006/relationships/tags" Target="../tags/tag586.xml"/><Relationship Id="rId77" Type="http://schemas.openxmlformats.org/officeDocument/2006/relationships/tags" Target="../tags/tag607.xml"/><Relationship Id="rId100" Type="http://schemas.openxmlformats.org/officeDocument/2006/relationships/tags" Target="../tags/tag630.xml"/><Relationship Id="rId105" Type="http://schemas.openxmlformats.org/officeDocument/2006/relationships/tags" Target="../tags/tag635.xml"/><Relationship Id="rId126" Type="http://schemas.openxmlformats.org/officeDocument/2006/relationships/tags" Target="../tags/tag656.xml"/><Relationship Id="rId8" Type="http://schemas.openxmlformats.org/officeDocument/2006/relationships/tags" Target="../tags/tag538.xml"/><Relationship Id="rId51" Type="http://schemas.openxmlformats.org/officeDocument/2006/relationships/tags" Target="../tags/tag581.xml"/><Relationship Id="rId72" Type="http://schemas.openxmlformats.org/officeDocument/2006/relationships/tags" Target="../tags/tag602.xml"/><Relationship Id="rId93" Type="http://schemas.openxmlformats.org/officeDocument/2006/relationships/tags" Target="../tags/tag623.xml"/><Relationship Id="rId98" Type="http://schemas.openxmlformats.org/officeDocument/2006/relationships/tags" Target="../tags/tag628.xml"/><Relationship Id="rId121" Type="http://schemas.openxmlformats.org/officeDocument/2006/relationships/tags" Target="../tags/tag651.xml"/><Relationship Id="rId3" Type="http://schemas.openxmlformats.org/officeDocument/2006/relationships/tags" Target="../tags/tag533.xml"/><Relationship Id="rId25" Type="http://schemas.openxmlformats.org/officeDocument/2006/relationships/tags" Target="../tags/tag555.xml"/><Relationship Id="rId46" Type="http://schemas.openxmlformats.org/officeDocument/2006/relationships/tags" Target="../tags/tag576.xml"/><Relationship Id="rId67" Type="http://schemas.openxmlformats.org/officeDocument/2006/relationships/tags" Target="../tags/tag597.xml"/><Relationship Id="rId116" Type="http://schemas.openxmlformats.org/officeDocument/2006/relationships/tags" Target="../tags/tag646.xml"/><Relationship Id="rId137" Type="http://schemas.openxmlformats.org/officeDocument/2006/relationships/chart" Target="../charts/chart25.xml"/><Relationship Id="rId20" Type="http://schemas.openxmlformats.org/officeDocument/2006/relationships/tags" Target="../tags/tag550.xml"/><Relationship Id="rId41" Type="http://schemas.openxmlformats.org/officeDocument/2006/relationships/tags" Target="../tags/tag571.xml"/><Relationship Id="rId62" Type="http://schemas.openxmlformats.org/officeDocument/2006/relationships/tags" Target="../tags/tag592.xml"/><Relationship Id="rId83" Type="http://schemas.openxmlformats.org/officeDocument/2006/relationships/tags" Target="../tags/tag613.xml"/><Relationship Id="rId88" Type="http://schemas.openxmlformats.org/officeDocument/2006/relationships/tags" Target="../tags/tag618.xml"/><Relationship Id="rId111" Type="http://schemas.openxmlformats.org/officeDocument/2006/relationships/tags" Target="../tags/tag641.xml"/><Relationship Id="rId132" Type="http://schemas.openxmlformats.org/officeDocument/2006/relationships/tags" Target="../tags/tag662.xml"/><Relationship Id="rId15" Type="http://schemas.openxmlformats.org/officeDocument/2006/relationships/tags" Target="../tags/tag545.xml"/><Relationship Id="rId36" Type="http://schemas.openxmlformats.org/officeDocument/2006/relationships/tags" Target="../tags/tag566.xml"/><Relationship Id="rId57" Type="http://schemas.openxmlformats.org/officeDocument/2006/relationships/tags" Target="../tags/tag587.xml"/><Relationship Id="rId106" Type="http://schemas.openxmlformats.org/officeDocument/2006/relationships/tags" Target="../tags/tag636.xml"/><Relationship Id="rId127" Type="http://schemas.openxmlformats.org/officeDocument/2006/relationships/tags" Target="../tags/tag657.xml"/><Relationship Id="rId10" Type="http://schemas.openxmlformats.org/officeDocument/2006/relationships/tags" Target="../tags/tag540.xml"/><Relationship Id="rId31" Type="http://schemas.openxmlformats.org/officeDocument/2006/relationships/tags" Target="../tags/tag561.xml"/><Relationship Id="rId52" Type="http://schemas.openxmlformats.org/officeDocument/2006/relationships/tags" Target="../tags/tag582.xml"/><Relationship Id="rId73" Type="http://schemas.openxmlformats.org/officeDocument/2006/relationships/tags" Target="../tags/tag603.xml"/><Relationship Id="rId78" Type="http://schemas.openxmlformats.org/officeDocument/2006/relationships/tags" Target="../tags/tag608.xml"/><Relationship Id="rId94" Type="http://schemas.openxmlformats.org/officeDocument/2006/relationships/tags" Target="../tags/tag624.xml"/><Relationship Id="rId99" Type="http://schemas.openxmlformats.org/officeDocument/2006/relationships/tags" Target="../tags/tag629.xml"/><Relationship Id="rId101" Type="http://schemas.openxmlformats.org/officeDocument/2006/relationships/tags" Target="../tags/tag631.xml"/><Relationship Id="rId122" Type="http://schemas.openxmlformats.org/officeDocument/2006/relationships/tags" Target="../tags/tag652.xml"/><Relationship Id="rId4" Type="http://schemas.openxmlformats.org/officeDocument/2006/relationships/tags" Target="../tags/tag534.xml"/><Relationship Id="rId9" Type="http://schemas.openxmlformats.org/officeDocument/2006/relationships/tags" Target="../tags/tag539.xml"/><Relationship Id="rId26" Type="http://schemas.openxmlformats.org/officeDocument/2006/relationships/tags" Target="../tags/tag556.xml"/><Relationship Id="rId47" Type="http://schemas.openxmlformats.org/officeDocument/2006/relationships/tags" Target="../tags/tag577.xml"/><Relationship Id="rId68" Type="http://schemas.openxmlformats.org/officeDocument/2006/relationships/tags" Target="../tags/tag598.xml"/><Relationship Id="rId89" Type="http://schemas.openxmlformats.org/officeDocument/2006/relationships/tags" Target="../tags/tag619.xml"/><Relationship Id="rId112" Type="http://schemas.openxmlformats.org/officeDocument/2006/relationships/tags" Target="../tags/tag642.xml"/><Relationship Id="rId133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117" Type="http://schemas.openxmlformats.org/officeDocument/2006/relationships/tags" Target="../tags/tag779.xml"/><Relationship Id="rId21" Type="http://schemas.openxmlformats.org/officeDocument/2006/relationships/tags" Target="../tags/tag683.xml"/><Relationship Id="rId42" Type="http://schemas.openxmlformats.org/officeDocument/2006/relationships/tags" Target="../tags/tag704.xml"/><Relationship Id="rId47" Type="http://schemas.openxmlformats.org/officeDocument/2006/relationships/tags" Target="../tags/tag709.xml"/><Relationship Id="rId63" Type="http://schemas.openxmlformats.org/officeDocument/2006/relationships/tags" Target="../tags/tag725.xml"/><Relationship Id="rId68" Type="http://schemas.openxmlformats.org/officeDocument/2006/relationships/tags" Target="../tags/tag730.xml"/><Relationship Id="rId84" Type="http://schemas.openxmlformats.org/officeDocument/2006/relationships/tags" Target="../tags/tag746.xml"/><Relationship Id="rId89" Type="http://schemas.openxmlformats.org/officeDocument/2006/relationships/tags" Target="../tags/tag751.xml"/><Relationship Id="rId112" Type="http://schemas.openxmlformats.org/officeDocument/2006/relationships/tags" Target="../tags/tag774.xml"/><Relationship Id="rId16" Type="http://schemas.openxmlformats.org/officeDocument/2006/relationships/tags" Target="../tags/tag678.xml"/><Relationship Id="rId107" Type="http://schemas.openxmlformats.org/officeDocument/2006/relationships/tags" Target="../tags/tag769.xml"/><Relationship Id="rId11" Type="http://schemas.openxmlformats.org/officeDocument/2006/relationships/tags" Target="../tags/tag673.xml"/><Relationship Id="rId32" Type="http://schemas.openxmlformats.org/officeDocument/2006/relationships/tags" Target="../tags/tag694.xml"/><Relationship Id="rId37" Type="http://schemas.openxmlformats.org/officeDocument/2006/relationships/tags" Target="../tags/tag699.xml"/><Relationship Id="rId53" Type="http://schemas.openxmlformats.org/officeDocument/2006/relationships/tags" Target="../tags/tag715.xml"/><Relationship Id="rId58" Type="http://schemas.openxmlformats.org/officeDocument/2006/relationships/tags" Target="../tags/tag720.xml"/><Relationship Id="rId74" Type="http://schemas.openxmlformats.org/officeDocument/2006/relationships/tags" Target="../tags/tag736.xml"/><Relationship Id="rId79" Type="http://schemas.openxmlformats.org/officeDocument/2006/relationships/tags" Target="../tags/tag741.xml"/><Relationship Id="rId102" Type="http://schemas.openxmlformats.org/officeDocument/2006/relationships/tags" Target="../tags/tag764.xml"/><Relationship Id="rId123" Type="http://schemas.openxmlformats.org/officeDocument/2006/relationships/tags" Target="../tags/tag785.xml"/><Relationship Id="rId128" Type="http://schemas.openxmlformats.org/officeDocument/2006/relationships/chart" Target="../charts/chart28.xml"/><Relationship Id="rId5" Type="http://schemas.openxmlformats.org/officeDocument/2006/relationships/tags" Target="../tags/tag667.xml"/><Relationship Id="rId90" Type="http://schemas.openxmlformats.org/officeDocument/2006/relationships/tags" Target="../tags/tag752.xml"/><Relationship Id="rId95" Type="http://schemas.openxmlformats.org/officeDocument/2006/relationships/tags" Target="../tags/tag757.xml"/><Relationship Id="rId22" Type="http://schemas.openxmlformats.org/officeDocument/2006/relationships/tags" Target="../tags/tag684.xml"/><Relationship Id="rId27" Type="http://schemas.openxmlformats.org/officeDocument/2006/relationships/tags" Target="../tags/tag689.xml"/><Relationship Id="rId43" Type="http://schemas.openxmlformats.org/officeDocument/2006/relationships/tags" Target="../tags/tag705.xml"/><Relationship Id="rId48" Type="http://schemas.openxmlformats.org/officeDocument/2006/relationships/tags" Target="../tags/tag710.xml"/><Relationship Id="rId64" Type="http://schemas.openxmlformats.org/officeDocument/2006/relationships/tags" Target="../tags/tag726.xml"/><Relationship Id="rId69" Type="http://schemas.openxmlformats.org/officeDocument/2006/relationships/tags" Target="../tags/tag731.xml"/><Relationship Id="rId113" Type="http://schemas.openxmlformats.org/officeDocument/2006/relationships/tags" Target="../tags/tag775.xml"/><Relationship Id="rId118" Type="http://schemas.openxmlformats.org/officeDocument/2006/relationships/tags" Target="../tags/tag780.xml"/><Relationship Id="rId80" Type="http://schemas.openxmlformats.org/officeDocument/2006/relationships/tags" Target="../tags/tag742.xml"/><Relationship Id="rId85" Type="http://schemas.openxmlformats.org/officeDocument/2006/relationships/tags" Target="../tags/tag747.xml"/><Relationship Id="rId12" Type="http://schemas.openxmlformats.org/officeDocument/2006/relationships/tags" Target="../tags/tag674.xml"/><Relationship Id="rId17" Type="http://schemas.openxmlformats.org/officeDocument/2006/relationships/tags" Target="../tags/tag679.xml"/><Relationship Id="rId33" Type="http://schemas.openxmlformats.org/officeDocument/2006/relationships/tags" Target="../tags/tag695.xml"/><Relationship Id="rId38" Type="http://schemas.openxmlformats.org/officeDocument/2006/relationships/tags" Target="../tags/tag700.xml"/><Relationship Id="rId59" Type="http://schemas.openxmlformats.org/officeDocument/2006/relationships/tags" Target="../tags/tag721.xml"/><Relationship Id="rId103" Type="http://schemas.openxmlformats.org/officeDocument/2006/relationships/tags" Target="../tags/tag765.xml"/><Relationship Id="rId108" Type="http://schemas.openxmlformats.org/officeDocument/2006/relationships/tags" Target="../tags/tag770.xml"/><Relationship Id="rId124" Type="http://schemas.openxmlformats.org/officeDocument/2006/relationships/slideLayout" Target="../slideLayouts/slideLayout15.xml"/><Relationship Id="rId129" Type="http://schemas.openxmlformats.org/officeDocument/2006/relationships/chart" Target="../charts/chart29.xml"/><Relationship Id="rId54" Type="http://schemas.openxmlformats.org/officeDocument/2006/relationships/tags" Target="../tags/tag716.xml"/><Relationship Id="rId70" Type="http://schemas.openxmlformats.org/officeDocument/2006/relationships/tags" Target="../tags/tag732.xml"/><Relationship Id="rId75" Type="http://schemas.openxmlformats.org/officeDocument/2006/relationships/tags" Target="../tags/tag737.xml"/><Relationship Id="rId91" Type="http://schemas.openxmlformats.org/officeDocument/2006/relationships/tags" Target="../tags/tag753.xml"/><Relationship Id="rId96" Type="http://schemas.openxmlformats.org/officeDocument/2006/relationships/tags" Target="../tags/tag758.xml"/><Relationship Id="rId1" Type="http://schemas.openxmlformats.org/officeDocument/2006/relationships/tags" Target="../tags/tag663.xml"/><Relationship Id="rId6" Type="http://schemas.openxmlformats.org/officeDocument/2006/relationships/tags" Target="../tags/tag668.xml"/><Relationship Id="rId23" Type="http://schemas.openxmlformats.org/officeDocument/2006/relationships/tags" Target="../tags/tag685.xml"/><Relationship Id="rId28" Type="http://schemas.openxmlformats.org/officeDocument/2006/relationships/tags" Target="../tags/tag690.xml"/><Relationship Id="rId49" Type="http://schemas.openxmlformats.org/officeDocument/2006/relationships/tags" Target="../tags/tag711.xml"/><Relationship Id="rId114" Type="http://schemas.openxmlformats.org/officeDocument/2006/relationships/tags" Target="../tags/tag776.xml"/><Relationship Id="rId119" Type="http://schemas.openxmlformats.org/officeDocument/2006/relationships/tags" Target="../tags/tag781.xml"/><Relationship Id="rId44" Type="http://schemas.openxmlformats.org/officeDocument/2006/relationships/tags" Target="../tags/tag706.xml"/><Relationship Id="rId60" Type="http://schemas.openxmlformats.org/officeDocument/2006/relationships/tags" Target="../tags/tag722.xml"/><Relationship Id="rId65" Type="http://schemas.openxmlformats.org/officeDocument/2006/relationships/tags" Target="../tags/tag727.xml"/><Relationship Id="rId81" Type="http://schemas.openxmlformats.org/officeDocument/2006/relationships/tags" Target="../tags/tag743.xml"/><Relationship Id="rId86" Type="http://schemas.openxmlformats.org/officeDocument/2006/relationships/tags" Target="../tags/tag748.xml"/><Relationship Id="rId130" Type="http://schemas.openxmlformats.org/officeDocument/2006/relationships/chart" Target="../charts/chart30.xml"/><Relationship Id="rId13" Type="http://schemas.openxmlformats.org/officeDocument/2006/relationships/tags" Target="../tags/tag675.xml"/><Relationship Id="rId18" Type="http://schemas.openxmlformats.org/officeDocument/2006/relationships/tags" Target="../tags/tag680.xml"/><Relationship Id="rId39" Type="http://schemas.openxmlformats.org/officeDocument/2006/relationships/tags" Target="../tags/tag701.xml"/><Relationship Id="rId109" Type="http://schemas.openxmlformats.org/officeDocument/2006/relationships/tags" Target="../tags/tag771.xml"/><Relationship Id="rId34" Type="http://schemas.openxmlformats.org/officeDocument/2006/relationships/tags" Target="../tags/tag696.xml"/><Relationship Id="rId50" Type="http://schemas.openxmlformats.org/officeDocument/2006/relationships/tags" Target="../tags/tag712.xml"/><Relationship Id="rId55" Type="http://schemas.openxmlformats.org/officeDocument/2006/relationships/tags" Target="../tags/tag717.xml"/><Relationship Id="rId76" Type="http://schemas.openxmlformats.org/officeDocument/2006/relationships/tags" Target="../tags/tag738.xml"/><Relationship Id="rId97" Type="http://schemas.openxmlformats.org/officeDocument/2006/relationships/tags" Target="../tags/tag759.xml"/><Relationship Id="rId104" Type="http://schemas.openxmlformats.org/officeDocument/2006/relationships/tags" Target="../tags/tag766.xml"/><Relationship Id="rId120" Type="http://schemas.openxmlformats.org/officeDocument/2006/relationships/tags" Target="../tags/tag782.xml"/><Relationship Id="rId125" Type="http://schemas.openxmlformats.org/officeDocument/2006/relationships/oleObject" Target="../embeddings/oleObject13.bin"/><Relationship Id="rId7" Type="http://schemas.openxmlformats.org/officeDocument/2006/relationships/tags" Target="../tags/tag669.xml"/><Relationship Id="rId71" Type="http://schemas.openxmlformats.org/officeDocument/2006/relationships/tags" Target="../tags/tag733.xml"/><Relationship Id="rId92" Type="http://schemas.openxmlformats.org/officeDocument/2006/relationships/tags" Target="../tags/tag754.xml"/><Relationship Id="rId2" Type="http://schemas.openxmlformats.org/officeDocument/2006/relationships/tags" Target="../tags/tag664.xml"/><Relationship Id="rId29" Type="http://schemas.openxmlformats.org/officeDocument/2006/relationships/tags" Target="../tags/tag691.xml"/><Relationship Id="rId24" Type="http://schemas.openxmlformats.org/officeDocument/2006/relationships/tags" Target="../tags/tag686.xml"/><Relationship Id="rId40" Type="http://schemas.openxmlformats.org/officeDocument/2006/relationships/tags" Target="../tags/tag702.xml"/><Relationship Id="rId45" Type="http://schemas.openxmlformats.org/officeDocument/2006/relationships/tags" Target="../tags/tag707.xml"/><Relationship Id="rId66" Type="http://schemas.openxmlformats.org/officeDocument/2006/relationships/tags" Target="../tags/tag728.xml"/><Relationship Id="rId87" Type="http://schemas.openxmlformats.org/officeDocument/2006/relationships/tags" Target="../tags/tag749.xml"/><Relationship Id="rId110" Type="http://schemas.openxmlformats.org/officeDocument/2006/relationships/tags" Target="../tags/tag772.xml"/><Relationship Id="rId115" Type="http://schemas.openxmlformats.org/officeDocument/2006/relationships/tags" Target="../tags/tag777.xml"/><Relationship Id="rId131" Type="http://schemas.openxmlformats.org/officeDocument/2006/relationships/chart" Target="../charts/chart31.xml"/><Relationship Id="rId61" Type="http://schemas.openxmlformats.org/officeDocument/2006/relationships/tags" Target="../tags/tag723.xml"/><Relationship Id="rId82" Type="http://schemas.openxmlformats.org/officeDocument/2006/relationships/tags" Target="../tags/tag744.xml"/><Relationship Id="rId19" Type="http://schemas.openxmlformats.org/officeDocument/2006/relationships/tags" Target="../tags/tag681.xml"/><Relationship Id="rId14" Type="http://schemas.openxmlformats.org/officeDocument/2006/relationships/tags" Target="../tags/tag676.xml"/><Relationship Id="rId30" Type="http://schemas.openxmlformats.org/officeDocument/2006/relationships/tags" Target="../tags/tag692.xml"/><Relationship Id="rId35" Type="http://schemas.openxmlformats.org/officeDocument/2006/relationships/tags" Target="../tags/tag697.xml"/><Relationship Id="rId56" Type="http://schemas.openxmlformats.org/officeDocument/2006/relationships/tags" Target="../tags/tag718.xml"/><Relationship Id="rId77" Type="http://schemas.openxmlformats.org/officeDocument/2006/relationships/tags" Target="../tags/tag739.xml"/><Relationship Id="rId100" Type="http://schemas.openxmlformats.org/officeDocument/2006/relationships/tags" Target="../tags/tag762.xml"/><Relationship Id="rId105" Type="http://schemas.openxmlformats.org/officeDocument/2006/relationships/tags" Target="../tags/tag767.xml"/><Relationship Id="rId126" Type="http://schemas.openxmlformats.org/officeDocument/2006/relationships/image" Target="../media/image1.emf"/><Relationship Id="rId8" Type="http://schemas.openxmlformats.org/officeDocument/2006/relationships/tags" Target="../tags/tag670.xml"/><Relationship Id="rId51" Type="http://schemas.openxmlformats.org/officeDocument/2006/relationships/tags" Target="../tags/tag713.xml"/><Relationship Id="rId72" Type="http://schemas.openxmlformats.org/officeDocument/2006/relationships/tags" Target="../tags/tag734.xml"/><Relationship Id="rId93" Type="http://schemas.openxmlformats.org/officeDocument/2006/relationships/tags" Target="../tags/tag755.xml"/><Relationship Id="rId98" Type="http://schemas.openxmlformats.org/officeDocument/2006/relationships/tags" Target="../tags/tag760.xml"/><Relationship Id="rId121" Type="http://schemas.openxmlformats.org/officeDocument/2006/relationships/tags" Target="../tags/tag783.xml"/><Relationship Id="rId3" Type="http://schemas.openxmlformats.org/officeDocument/2006/relationships/tags" Target="../tags/tag665.xml"/><Relationship Id="rId25" Type="http://schemas.openxmlformats.org/officeDocument/2006/relationships/tags" Target="../tags/tag687.xml"/><Relationship Id="rId46" Type="http://schemas.openxmlformats.org/officeDocument/2006/relationships/tags" Target="../tags/tag708.xml"/><Relationship Id="rId67" Type="http://schemas.openxmlformats.org/officeDocument/2006/relationships/tags" Target="../tags/tag729.xml"/><Relationship Id="rId116" Type="http://schemas.openxmlformats.org/officeDocument/2006/relationships/tags" Target="../tags/tag778.xml"/><Relationship Id="rId20" Type="http://schemas.openxmlformats.org/officeDocument/2006/relationships/tags" Target="../tags/tag682.xml"/><Relationship Id="rId41" Type="http://schemas.openxmlformats.org/officeDocument/2006/relationships/tags" Target="../tags/tag703.xml"/><Relationship Id="rId62" Type="http://schemas.openxmlformats.org/officeDocument/2006/relationships/tags" Target="../tags/tag724.xml"/><Relationship Id="rId83" Type="http://schemas.openxmlformats.org/officeDocument/2006/relationships/tags" Target="../tags/tag745.xml"/><Relationship Id="rId88" Type="http://schemas.openxmlformats.org/officeDocument/2006/relationships/tags" Target="../tags/tag750.xml"/><Relationship Id="rId111" Type="http://schemas.openxmlformats.org/officeDocument/2006/relationships/tags" Target="../tags/tag773.xml"/><Relationship Id="rId132" Type="http://schemas.openxmlformats.org/officeDocument/2006/relationships/chart" Target="../charts/chart32.xml"/><Relationship Id="rId15" Type="http://schemas.openxmlformats.org/officeDocument/2006/relationships/tags" Target="../tags/tag677.xml"/><Relationship Id="rId36" Type="http://schemas.openxmlformats.org/officeDocument/2006/relationships/tags" Target="../tags/tag698.xml"/><Relationship Id="rId57" Type="http://schemas.openxmlformats.org/officeDocument/2006/relationships/tags" Target="../tags/tag719.xml"/><Relationship Id="rId106" Type="http://schemas.openxmlformats.org/officeDocument/2006/relationships/tags" Target="../tags/tag768.xml"/><Relationship Id="rId127" Type="http://schemas.openxmlformats.org/officeDocument/2006/relationships/chart" Target="../charts/chart27.xml"/><Relationship Id="rId10" Type="http://schemas.openxmlformats.org/officeDocument/2006/relationships/tags" Target="../tags/tag672.xml"/><Relationship Id="rId31" Type="http://schemas.openxmlformats.org/officeDocument/2006/relationships/tags" Target="../tags/tag693.xml"/><Relationship Id="rId52" Type="http://schemas.openxmlformats.org/officeDocument/2006/relationships/tags" Target="../tags/tag714.xml"/><Relationship Id="rId73" Type="http://schemas.openxmlformats.org/officeDocument/2006/relationships/tags" Target="../tags/tag735.xml"/><Relationship Id="rId78" Type="http://schemas.openxmlformats.org/officeDocument/2006/relationships/tags" Target="../tags/tag740.xml"/><Relationship Id="rId94" Type="http://schemas.openxmlformats.org/officeDocument/2006/relationships/tags" Target="../tags/tag756.xml"/><Relationship Id="rId99" Type="http://schemas.openxmlformats.org/officeDocument/2006/relationships/tags" Target="../tags/tag761.xml"/><Relationship Id="rId101" Type="http://schemas.openxmlformats.org/officeDocument/2006/relationships/tags" Target="../tags/tag763.xml"/><Relationship Id="rId122" Type="http://schemas.openxmlformats.org/officeDocument/2006/relationships/tags" Target="../tags/tag784.xml"/><Relationship Id="rId4" Type="http://schemas.openxmlformats.org/officeDocument/2006/relationships/tags" Target="../tags/tag666.xml"/><Relationship Id="rId9" Type="http://schemas.openxmlformats.org/officeDocument/2006/relationships/tags" Target="../tags/tag671.xml"/><Relationship Id="rId26" Type="http://schemas.openxmlformats.org/officeDocument/2006/relationships/tags" Target="../tags/tag68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793.xml"/><Relationship Id="rId13" Type="http://schemas.openxmlformats.org/officeDocument/2006/relationships/oleObject" Target="../embeddings/oleObject14.bin"/><Relationship Id="rId3" Type="http://schemas.openxmlformats.org/officeDocument/2006/relationships/tags" Target="../tags/tag788.xml"/><Relationship Id="rId7" Type="http://schemas.openxmlformats.org/officeDocument/2006/relationships/tags" Target="../tags/tag792.xml"/><Relationship Id="rId12" Type="http://schemas.openxmlformats.org/officeDocument/2006/relationships/notesSlide" Target="../notesSlides/notesSlide3.xml"/><Relationship Id="rId2" Type="http://schemas.openxmlformats.org/officeDocument/2006/relationships/tags" Target="../tags/tag787.xml"/><Relationship Id="rId1" Type="http://schemas.openxmlformats.org/officeDocument/2006/relationships/tags" Target="../tags/tag786.xml"/><Relationship Id="rId6" Type="http://schemas.openxmlformats.org/officeDocument/2006/relationships/tags" Target="../tags/tag791.xml"/><Relationship Id="rId11" Type="http://schemas.openxmlformats.org/officeDocument/2006/relationships/slideLayout" Target="../slideLayouts/slideLayout15.xml"/><Relationship Id="rId5" Type="http://schemas.openxmlformats.org/officeDocument/2006/relationships/tags" Target="../tags/tag790.xml"/><Relationship Id="rId15" Type="http://schemas.openxmlformats.org/officeDocument/2006/relationships/chart" Target="../charts/chart33.xml"/><Relationship Id="rId10" Type="http://schemas.openxmlformats.org/officeDocument/2006/relationships/tags" Target="../tags/tag795.xml"/><Relationship Id="rId4" Type="http://schemas.openxmlformats.org/officeDocument/2006/relationships/tags" Target="../tags/tag789.xml"/><Relationship Id="rId9" Type="http://schemas.openxmlformats.org/officeDocument/2006/relationships/tags" Target="../tags/tag794.xml"/><Relationship Id="rId14" Type="http://schemas.openxmlformats.org/officeDocument/2006/relationships/image" Target="../media/image7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797.xml"/><Relationship Id="rId1" Type="http://schemas.openxmlformats.org/officeDocument/2006/relationships/tags" Target="../tags/tag796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4.xml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810.xml"/><Relationship Id="rId18" Type="http://schemas.openxmlformats.org/officeDocument/2006/relationships/tags" Target="../tags/tag815.xml"/><Relationship Id="rId26" Type="http://schemas.openxmlformats.org/officeDocument/2006/relationships/tags" Target="../tags/tag823.xml"/><Relationship Id="rId39" Type="http://schemas.openxmlformats.org/officeDocument/2006/relationships/tags" Target="../tags/tag836.xml"/><Relationship Id="rId21" Type="http://schemas.openxmlformats.org/officeDocument/2006/relationships/tags" Target="../tags/tag818.xml"/><Relationship Id="rId34" Type="http://schemas.openxmlformats.org/officeDocument/2006/relationships/tags" Target="../tags/tag831.xml"/><Relationship Id="rId42" Type="http://schemas.openxmlformats.org/officeDocument/2006/relationships/tags" Target="../tags/tag839.xml"/><Relationship Id="rId47" Type="http://schemas.openxmlformats.org/officeDocument/2006/relationships/chart" Target="../charts/chart34.xml"/><Relationship Id="rId50" Type="http://schemas.openxmlformats.org/officeDocument/2006/relationships/customXml" Target="../ink/ink2.xml"/><Relationship Id="rId7" Type="http://schemas.openxmlformats.org/officeDocument/2006/relationships/tags" Target="../tags/tag804.xml"/><Relationship Id="rId2" Type="http://schemas.openxmlformats.org/officeDocument/2006/relationships/tags" Target="../tags/tag799.xml"/><Relationship Id="rId16" Type="http://schemas.openxmlformats.org/officeDocument/2006/relationships/tags" Target="../tags/tag813.xml"/><Relationship Id="rId29" Type="http://schemas.openxmlformats.org/officeDocument/2006/relationships/tags" Target="../tags/tag826.xml"/><Relationship Id="rId11" Type="http://schemas.openxmlformats.org/officeDocument/2006/relationships/tags" Target="../tags/tag808.xml"/><Relationship Id="rId24" Type="http://schemas.openxmlformats.org/officeDocument/2006/relationships/tags" Target="../tags/tag821.xml"/><Relationship Id="rId32" Type="http://schemas.openxmlformats.org/officeDocument/2006/relationships/tags" Target="../tags/tag829.xml"/><Relationship Id="rId37" Type="http://schemas.openxmlformats.org/officeDocument/2006/relationships/tags" Target="../tags/tag834.xml"/><Relationship Id="rId40" Type="http://schemas.openxmlformats.org/officeDocument/2006/relationships/tags" Target="../tags/tag837.xml"/><Relationship Id="rId45" Type="http://schemas.openxmlformats.org/officeDocument/2006/relationships/oleObject" Target="../embeddings/oleObject16.bin"/><Relationship Id="rId5" Type="http://schemas.openxmlformats.org/officeDocument/2006/relationships/tags" Target="../tags/tag802.xml"/><Relationship Id="rId15" Type="http://schemas.openxmlformats.org/officeDocument/2006/relationships/tags" Target="../tags/tag812.xml"/><Relationship Id="rId23" Type="http://schemas.openxmlformats.org/officeDocument/2006/relationships/tags" Target="../tags/tag820.xml"/><Relationship Id="rId28" Type="http://schemas.openxmlformats.org/officeDocument/2006/relationships/tags" Target="../tags/tag825.xml"/><Relationship Id="rId36" Type="http://schemas.openxmlformats.org/officeDocument/2006/relationships/tags" Target="../tags/tag833.xml"/><Relationship Id="rId49" Type="http://schemas.openxmlformats.org/officeDocument/2006/relationships/image" Target="../media/image12.png"/><Relationship Id="rId10" Type="http://schemas.openxmlformats.org/officeDocument/2006/relationships/tags" Target="../tags/tag807.xml"/><Relationship Id="rId19" Type="http://schemas.openxmlformats.org/officeDocument/2006/relationships/tags" Target="../tags/tag816.xml"/><Relationship Id="rId31" Type="http://schemas.openxmlformats.org/officeDocument/2006/relationships/tags" Target="../tags/tag828.xml"/><Relationship Id="rId44" Type="http://schemas.openxmlformats.org/officeDocument/2006/relationships/notesSlide" Target="../notesSlides/notesSlide5.xml"/><Relationship Id="rId4" Type="http://schemas.openxmlformats.org/officeDocument/2006/relationships/tags" Target="../tags/tag801.xml"/><Relationship Id="rId9" Type="http://schemas.openxmlformats.org/officeDocument/2006/relationships/tags" Target="../tags/tag806.xml"/><Relationship Id="rId14" Type="http://schemas.openxmlformats.org/officeDocument/2006/relationships/tags" Target="../tags/tag811.xml"/><Relationship Id="rId22" Type="http://schemas.openxmlformats.org/officeDocument/2006/relationships/tags" Target="../tags/tag819.xml"/><Relationship Id="rId27" Type="http://schemas.openxmlformats.org/officeDocument/2006/relationships/tags" Target="../tags/tag824.xml"/><Relationship Id="rId30" Type="http://schemas.openxmlformats.org/officeDocument/2006/relationships/tags" Target="../tags/tag827.xml"/><Relationship Id="rId35" Type="http://schemas.openxmlformats.org/officeDocument/2006/relationships/tags" Target="../tags/tag832.xml"/><Relationship Id="rId43" Type="http://schemas.openxmlformats.org/officeDocument/2006/relationships/slideLayout" Target="../slideLayouts/slideLayout15.xml"/><Relationship Id="rId48" Type="http://schemas.openxmlformats.org/officeDocument/2006/relationships/customXml" Target="../ink/ink1.xml"/><Relationship Id="rId8" Type="http://schemas.openxmlformats.org/officeDocument/2006/relationships/tags" Target="../tags/tag805.xml"/><Relationship Id="rId3" Type="http://schemas.openxmlformats.org/officeDocument/2006/relationships/tags" Target="../tags/tag800.xml"/><Relationship Id="rId12" Type="http://schemas.openxmlformats.org/officeDocument/2006/relationships/tags" Target="../tags/tag809.xml"/><Relationship Id="rId17" Type="http://schemas.openxmlformats.org/officeDocument/2006/relationships/tags" Target="../tags/tag814.xml"/><Relationship Id="rId25" Type="http://schemas.openxmlformats.org/officeDocument/2006/relationships/tags" Target="../tags/tag822.xml"/><Relationship Id="rId33" Type="http://schemas.openxmlformats.org/officeDocument/2006/relationships/tags" Target="../tags/tag830.xml"/><Relationship Id="rId38" Type="http://schemas.openxmlformats.org/officeDocument/2006/relationships/tags" Target="../tags/tag835.xml"/><Relationship Id="rId46" Type="http://schemas.openxmlformats.org/officeDocument/2006/relationships/image" Target="../media/image7.emf"/><Relationship Id="rId20" Type="http://schemas.openxmlformats.org/officeDocument/2006/relationships/tags" Target="../tags/tag817.xml"/><Relationship Id="rId41" Type="http://schemas.openxmlformats.org/officeDocument/2006/relationships/tags" Target="../tags/tag838.xml"/><Relationship Id="rId1" Type="http://schemas.openxmlformats.org/officeDocument/2006/relationships/tags" Target="../tags/tag798.xml"/><Relationship Id="rId6" Type="http://schemas.openxmlformats.org/officeDocument/2006/relationships/tags" Target="../tags/tag803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852.xml"/><Relationship Id="rId18" Type="http://schemas.openxmlformats.org/officeDocument/2006/relationships/tags" Target="../tags/tag857.xml"/><Relationship Id="rId26" Type="http://schemas.openxmlformats.org/officeDocument/2006/relationships/tags" Target="../tags/tag865.xml"/><Relationship Id="rId39" Type="http://schemas.openxmlformats.org/officeDocument/2006/relationships/tags" Target="../tags/tag878.xml"/><Relationship Id="rId21" Type="http://schemas.openxmlformats.org/officeDocument/2006/relationships/tags" Target="../tags/tag860.xml"/><Relationship Id="rId34" Type="http://schemas.openxmlformats.org/officeDocument/2006/relationships/tags" Target="../tags/tag873.xml"/><Relationship Id="rId42" Type="http://schemas.openxmlformats.org/officeDocument/2006/relationships/notesSlide" Target="../notesSlides/notesSlide6.xml"/><Relationship Id="rId47" Type="http://schemas.openxmlformats.org/officeDocument/2006/relationships/image" Target="../media/image12.png"/><Relationship Id="rId7" Type="http://schemas.openxmlformats.org/officeDocument/2006/relationships/tags" Target="../tags/tag846.xml"/><Relationship Id="rId2" Type="http://schemas.openxmlformats.org/officeDocument/2006/relationships/tags" Target="../tags/tag841.xml"/><Relationship Id="rId16" Type="http://schemas.openxmlformats.org/officeDocument/2006/relationships/tags" Target="../tags/tag855.xml"/><Relationship Id="rId29" Type="http://schemas.openxmlformats.org/officeDocument/2006/relationships/tags" Target="../tags/tag868.xml"/><Relationship Id="rId1" Type="http://schemas.openxmlformats.org/officeDocument/2006/relationships/tags" Target="../tags/tag840.xml"/><Relationship Id="rId6" Type="http://schemas.openxmlformats.org/officeDocument/2006/relationships/tags" Target="../tags/tag845.xml"/><Relationship Id="rId11" Type="http://schemas.openxmlformats.org/officeDocument/2006/relationships/tags" Target="../tags/tag850.xml"/><Relationship Id="rId24" Type="http://schemas.openxmlformats.org/officeDocument/2006/relationships/tags" Target="../tags/tag863.xml"/><Relationship Id="rId32" Type="http://schemas.openxmlformats.org/officeDocument/2006/relationships/tags" Target="../tags/tag871.xml"/><Relationship Id="rId37" Type="http://schemas.openxmlformats.org/officeDocument/2006/relationships/tags" Target="../tags/tag876.xml"/><Relationship Id="rId40" Type="http://schemas.openxmlformats.org/officeDocument/2006/relationships/tags" Target="../tags/tag879.xml"/><Relationship Id="rId45" Type="http://schemas.openxmlformats.org/officeDocument/2006/relationships/chart" Target="../charts/chart35.xml"/><Relationship Id="rId5" Type="http://schemas.openxmlformats.org/officeDocument/2006/relationships/tags" Target="../tags/tag844.xml"/><Relationship Id="rId15" Type="http://schemas.openxmlformats.org/officeDocument/2006/relationships/tags" Target="../tags/tag854.xml"/><Relationship Id="rId23" Type="http://schemas.openxmlformats.org/officeDocument/2006/relationships/tags" Target="../tags/tag862.xml"/><Relationship Id="rId28" Type="http://schemas.openxmlformats.org/officeDocument/2006/relationships/tags" Target="../tags/tag867.xml"/><Relationship Id="rId36" Type="http://schemas.openxmlformats.org/officeDocument/2006/relationships/tags" Target="../tags/tag875.xml"/><Relationship Id="rId10" Type="http://schemas.openxmlformats.org/officeDocument/2006/relationships/tags" Target="../tags/tag849.xml"/><Relationship Id="rId19" Type="http://schemas.openxmlformats.org/officeDocument/2006/relationships/tags" Target="../tags/tag858.xml"/><Relationship Id="rId31" Type="http://schemas.openxmlformats.org/officeDocument/2006/relationships/tags" Target="../tags/tag870.xml"/><Relationship Id="rId44" Type="http://schemas.openxmlformats.org/officeDocument/2006/relationships/image" Target="../media/image7.emf"/><Relationship Id="rId4" Type="http://schemas.openxmlformats.org/officeDocument/2006/relationships/tags" Target="../tags/tag843.xml"/><Relationship Id="rId9" Type="http://schemas.openxmlformats.org/officeDocument/2006/relationships/tags" Target="../tags/tag848.xml"/><Relationship Id="rId14" Type="http://schemas.openxmlformats.org/officeDocument/2006/relationships/tags" Target="../tags/tag853.xml"/><Relationship Id="rId22" Type="http://schemas.openxmlformats.org/officeDocument/2006/relationships/tags" Target="../tags/tag861.xml"/><Relationship Id="rId27" Type="http://schemas.openxmlformats.org/officeDocument/2006/relationships/tags" Target="../tags/tag866.xml"/><Relationship Id="rId30" Type="http://schemas.openxmlformats.org/officeDocument/2006/relationships/tags" Target="../tags/tag869.xml"/><Relationship Id="rId35" Type="http://schemas.openxmlformats.org/officeDocument/2006/relationships/tags" Target="../tags/tag874.xml"/><Relationship Id="rId43" Type="http://schemas.openxmlformats.org/officeDocument/2006/relationships/oleObject" Target="../embeddings/oleObject17.bin"/><Relationship Id="rId48" Type="http://schemas.openxmlformats.org/officeDocument/2006/relationships/customXml" Target="../ink/ink4.xml"/><Relationship Id="rId8" Type="http://schemas.openxmlformats.org/officeDocument/2006/relationships/tags" Target="../tags/tag847.xml"/><Relationship Id="rId3" Type="http://schemas.openxmlformats.org/officeDocument/2006/relationships/tags" Target="../tags/tag842.xml"/><Relationship Id="rId12" Type="http://schemas.openxmlformats.org/officeDocument/2006/relationships/tags" Target="../tags/tag851.xml"/><Relationship Id="rId17" Type="http://schemas.openxmlformats.org/officeDocument/2006/relationships/tags" Target="../tags/tag856.xml"/><Relationship Id="rId25" Type="http://schemas.openxmlformats.org/officeDocument/2006/relationships/tags" Target="../tags/tag864.xml"/><Relationship Id="rId33" Type="http://schemas.openxmlformats.org/officeDocument/2006/relationships/tags" Target="../tags/tag872.xml"/><Relationship Id="rId38" Type="http://schemas.openxmlformats.org/officeDocument/2006/relationships/tags" Target="../tags/tag877.xml"/><Relationship Id="rId46" Type="http://schemas.openxmlformats.org/officeDocument/2006/relationships/customXml" Target="../ink/ink3.xml"/><Relationship Id="rId20" Type="http://schemas.openxmlformats.org/officeDocument/2006/relationships/tags" Target="../tags/tag859.xml"/><Relationship Id="rId4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892.xml"/><Relationship Id="rId18" Type="http://schemas.openxmlformats.org/officeDocument/2006/relationships/tags" Target="../tags/tag897.xml"/><Relationship Id="rId26" Type="http://schemas.openxmlformats.org/officeDocument/2006/relationships/tags" Target="../tags/tag905.xml"/><Relationship Id="rId39" Type="http://schemas.openxmlformats.org/officeDocument/2006/relationships/tags" Target="../tags/tag918.xml"/><Relationship Id="rId21" Type="http://schemas.openxmlformats.org/officeDocument/2006/relationships/tags" Target="../tags/tag900.xml"/><Relationship Id="rId34" Type="http://schemas.openxmlformats.org/officeDocument/2006/relationships/tags" Target="../tags/tag913.xml"/><Relationship Id="rId42" Type="http://schemas.openxmlformats.org/officeDocument/2006/relationships/slideLayout" Target="../slideLayouts/slideLayout15.xml"/><Relationship Id="rId47" Type="http://schemas.openxmlformats.org/officeDocument/2006/relationships/customXml" Target="../ink/ink5.xml"/><Relationship Id="rId50" Type="http://schemas.openxmlformats.org/officeDocument/2006/relationships/image" Target="../media/image12.png"/><Relationship Id="rId7" Type="http://schemas.openxmlformats.org/officeDocument/2006/relationships/tags" Target="../tags/tag886.xml"/><Relationship Id="rId2" Type="http://schemas.openxmlformats.org/officeDocument/2006/relationships/tags" Target="../tags/tag881.xml"/><Relationship Id="rId16" Type="http://schemas.openxmlformats.org/officeDocument/2006/relationships/tags" Target="../tags/tag895.xml"/><Relationship Id="rId29" Type="http://schemas.openxmlformats.org/officeDocument/2006/relationships/tags" Target="../tags/tag908.xml"/><Relationship Id="rId11" Type="http://schemas.openxmlformats.org/officeDocument/2006/relationships/tags" Target="../tags/tag890.xml"/><Relationship Id="rId24" Type="http://schemas.openxmlformats.org/officeDocument/2006/relationships/tags" Target="../tags/tag903.xml"/><Relationship Id="rId32" Type="http://schemas.openxmlformats.org/officeDocument/2006/relationships/tags" Target="../tags/tag911.xml"/><Relationship Id="rId37" Type="http://schemas.openxmlformats.org/officeDocument/2006/relationships/tags" Target="../tags/tag916.xml"/><Relationship Id="rId40" Type="http://schemas.openxmlformats.org/officeDocument/2006/relationships/tags" Target="../tags/tag919.xml"/><Relationship Id="rId45" Type="http://schemas.openxmlformats.org/officeDocument/2006/relationships/image" Target="../media/image7.emf"/><Relationship Id="rId5" Type="http://schemas.openxmlformats.org/officeDocument/2006/relationships/tags" Target="../tags/tag884.xml"/><Relationship Id="rId15" Type="http://schemas.openxmlformats.org/officeDocument/2006/relationships/tags" Target="../tags/tag894.xml"/><Relationship Id="rId23" Type="http://schemas.openxmlformats.org/officeDocument/2006/relationships/tags" Target="../tags/tag902.xml"/><Relationship Id="rId28" Type="http://schemas.openxmlformats.org/officeDocument/2006/relationships/tags" Target="../tags/tag907.xml"/><Relationship Id="rId36" Type="http://schemas.openxmlformats.org/officeDocument/2006/relationships/tags" Target="../tags/tag915.xml"/><Relationship Id="rId10" Type="http://schemas.openxmlformats.org/officeDocument/2006/relationships/tags" Target="../tags/tag889.xml"/><Relationship Id="rId19" Type="http://schemas.openxmlformats.org/officeDocument/2006/relationships/tags" Target="../tags/tag898.xml"/><Relationship Id="rId31" Type="http://schemas.openxmlformats.org/officeDocument/2006/relationships/tags" Target="../tags/tag910.xml"/><Relationship Id="rId44" Type="http://schemas.openxmlformats.org/officeDocument/2006/relationships/oleObject" Target="../embeddings/oleObject18.bin"/><Relationship Id="rId4" Type="http://schemas.openxmlformats.org/officeDocument/2006/relationships/tags" Target="../tags/tag883.xml"/><Relationship Id="rId9" Type="http://schemas.openxmlformats.org/officeDocument/2006/relationships/tags" Target="../tags/tag888.xml"/><Relationship Id="rId14" Type="http://schemas.openxmlformats.org/officeDocument/2006/relationships/tags" Target="../tags/tag893.xml"/><Relationship Id="rId22" Type="http://schemas.openxmlformats.org/officeDocument/2006/relationships/tags" Target="../tags/tag901.xml"/><Relationship Id="rId27" Type="http://schemas.openxmlformats.org/officeDocument/2006/relationships/tags" Target="../tags/tag906.xml"/><Relationship Id="rId30" Type="http://schemas.openxmlformats.org/officeDocument/2006/relationships/tags" Target="../tags/tag909.xml"/><Relationship Id="rId35" Type="http://schemas.openxmlformats.org/officeDocument/2006/relationships/tags" Target="../tags/tag914.xml"/><Relationship Id="rId43" Type="http://schemas.openxmlformats.org/officeDocument/2006/relationships/notesSlide" Target="../notesSlides/notesSlide7.xml"/><Relationship Id="rId8" Type="http://schemas.openxmlformats.org/officeDocument/2006/relationships/tags" Target="../tags/tag887.xml"/><Relationship Id="rId51" Type="http://schemas.openxmlformats.org/officeDocument/2006/relationships/customXml" Target="../ink/ink6.xml"/><Relationship Id="rId3" Type="http://schemas.openxmlformats.org/officeDocument/2006/relationships/tags" Target="../tags/tag882.xml"/><Relationship Id="rId12" Type="http://schemas.openxmlformats.org/officeDocument/2006/relationships/tags" Target="../tags/tag891.xml"/><Relationship Id="rId17" Type="http://schemas.openxmlformats.org/officeDocument/2006/relationships/tags" Target="../tags/tag896.xml"/><Relationship Id="rId25" Type="http://schemas.openxmlformats.org/officeDocument/2006/relationships/tags" Target="../tags/tag904.xml"/><Relationship Id="rId33" Type="http://schemas.openxmlformats.org/officeDocument/2006/relationships/tags" Target="../tags/tag912.xml"/><Relationship Id="rId38" Type="http://schemas.openxmlformats.org/officeDocument/2006/relationships/tags" Target="../tags/tag917.xml"/><Relationship Id="rId46" Type="http://schemas.openxmlformats.org/officeDocument/2006/relationships/chart" Target="../charts/chart36.xml"/><Relationship Id="rId20" Type="http://schemas.openxmlformats.org/officeDocument/2006/relationships/tags" Target="../tags/tag899.xml"/><Relationship Id="rId41" Type="http://schemas.openxmlformats.org/officeDocument/2006/relationships/tags" Target="../tags/tag920.xml"/><Relationship Id="rId1" Type="http://schemas.openxmlformats.org/officeDocument/2006/relationships/tags" Target="../tags/tag880.xml"/><Relationship Id="rId6" Type="http://schemas.openxmlformats.org/officeDocument/2006/relationships/tags" Target="../tags/tag885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933.xml"/><Relationship Id="rId18" Type="http://schemas.openxmlformats.org/officeDocument/2006/relationships/tags" Target="../tags/tag938.xml"/><Relationship Id="rId26" Type="http://schemas.openxmlformats.org/officeDocument/2006/relationships/tags" Target="../tags/tag946.xml"/><Relationship Id="rId39" Type="http://schemas.openxmlformats.org/officeDocument/2006/relationships/tags" Target="../tags/tag959.xml"/><Relationship Id="rId21" Type="http://schemas.openxmlformats.org/officeDocument/2006/relationships/tags" Target="../tags/tag941.xml"/><Relationship Id="rId34" Type="http://schemas.openxmlformats.org/officeDocument/2006/relationships/tags" Target="../tags/tag954.xml"/><Relationship Id="rId42" Type="http://schemas.openxmlformats.org/officeDocument/2006/relationships/tags" Target="../tags/tag962.xml"/><Relationship Id="rId47" Type="http://schemas.openxmlformats.org/officeDocument/2006/relationships/notesSlide" Target="../notesSlides/notesSlide8.xml"/><Relationship Id="rId50" Type="http://schemas.openxmlformats.org/officeDocument/2006/relationships/chart" Target="../charts/chart37.xml"/><Relationship Id="rId7" Type="http://schemas.openxmlformats.org/officeDocument/2006/relationships/tags" Target="../tags/tag927.xml"/><Relationship Id="rId2" Type="http://schemas.openxmlformats.org/officeDocument/2006/relationships/tags" Target="../tags/tag922.xml"/><Relationship Id="rId16" Type="http://schemas.openxmlformats.org/officeDocument/2006/relationships/tags" Target="../tags/tag936.xml"/><Relationship Id="rId29" Type="http://schemas.openxmlformats.org/officeDocument/2006/relationships/tags" Target="../tags/tag949.xml"/><Relationship Id="rId11" Type="http://schemas.openxmlformats.org/officeDocument/2006/relationships/tags" Target="../tags/tag931.xml"/><Relationship Id="rId24" Type="http://schemas.openxmlformats.org/officeDocument/2006/relationships/tags" Target="../tags/tag944.xml"/><Relationship Id="rId32" Type="http://schemas.openxmlformats.org/officeDocument/2006/relationships/tags" Target="../tags/tag952.xml"/><Relationship Id="rId37" Type="http://schemas.openxmlformats.org/officeDocument/2006/relationships/tags" Target="../tags/tag957.xml"/><Relationship Id="rId40" Type="http://schemas.openxmlformats.org/officeDocument/2006/relationships/tags" Target="../tags/tag960.xml"/><Relationship Id="rId45" Type="http://schemas.openxmlformats.org/officeDocument/2006/relationships/tags" Target="../tags/tag965.xml"/><Relationship Id="rId53" Type="http://schemas.openxmlformats.org/officeDocument/2006/relationships/customXml" Target="../ink/ink8.xml"/><Relationship Id="rId5" Type="http://schemas.openxmlformats.org/officeDocument/2006/relationships/tags" Target="../tags/tag925.xml"/><Relationship Id="rId10" Type="http://schemas.openxmlformats.org/officeDocument/2006/relationships/tags" Target="../tags/tag930.xml"/><Relationship Id="rId19" Type="http://schemas.openxmlformats.org/officeDocument/2006/relationships/tags" Target="../tags/tag939.xml"/><Relationship Id="rId31" Type="http://schemas.openxmlformats.org/officeDocument/2006/relationships/tags" Target="../tags/tag951.xml"/><Relationship Id="rId44" Type="http://schemas.openxmlformats.org/officeDocument/2006/relationships/tags" Target="../tags/tag964.xml"/><Relationship Id="rId52" Type="http://schemas.openxmlformats.org/officeDocument/2006/relationships/image" Target="../media/image12.png"/><Relationship Id="rId4" Type="http://schemas.openxmlformats.org/officeDocument/2006/relationships/tags" Target="../tags/tag924.xml"/><Relationship Id="rId9" Type="http://schemas.openxmlformats.org/officeDocument/2006/relationships/tags" Target="../tags/tag929.xml"/><Relationship Id="rId14" Type="http://schemas.openxmlformats.org/officeDocument/2006/relationships/tags" Target="../tags/tag934.xml"/><Relationship Id="rId22" Type="http://schemas.openxmlformats.org/officeDocument/2006/relationships/tags" Target="../tags/tag942.xml"/><Relationship Id="rId27" Type="http://schemas.openxmlformats.org/officeDocument/2006/relationships/tags" Target="../tags/tag947.xml"/><Relationship Id="rId30" Type="http://schemas.openxmlformats.org/officeDocument/2006/relationships/tags" Target="../tags/tag950.xml"/><Relationship Id="rId35" Type="http://schemas.openxmlformats.org/officeDocument/2006/relationships/tags" Target="../tags/tag955.xml"/><Relationship Id="rId43" Type="http://schemas.openxmlformats.org/officeDocument/2006/relationships/tags" Target="../tags/tag963.xml"/><Relationship Id="rId48" Type="http://schemas.openxmlformats.org/officeDocument/2006/relationships/oleObject" Target="../embeddings/oleObject19.bin"/><Relationship Id="rId8" Type="http://schemas.openxmlformats.org/officeDocument/2006/relationships/tags" Target="../tags/tag928.xml"/><Relationship Id="rId51" Type="http://schemas.openxmlformats.org/officeDocument/2006/relationships/customXml" Target="../ink/ink7.xml"/><Relationship Id="rId3" Type="http://schemas.openxmlformats.org/officeDocument/2006/relationships/tags" Target="../tags/tag923.xml"/><Relationship Id="rId12" Type="http://schemas.openxmlformats.org/officeDocument/2006/relationships/tags" Target="../tags/tag932.xml"/><Relationship Id="rId17" Type="http://schemas.openxmlformats.org/officeDocument/2006/relationships/tags" Target="../tags/tag937.xml"/><Relationship Id="rId25" Type="http://schemas.openxmlformats.org/officeDocument/2006/relationships/tags" Target="../tags/tag945.xml"/><Relationship Id="rId33" Type="http://schemas.openxmlformats.org/officeDocument/2006/relationships/tags" Target="../tags/tag953.xml"/><Relationship Id="rId38" Type="http://schemas.openxmlformats.org/officeDocument/2006/relationships/tags" Target="../tags/tag958.xml"/><Relationship Id="rId46" Type="http://schemas.openxmlformats.org/officeDocument/2006/relationships/slideLayout" Target="../slideLayouts/slideLayout15.xml"/><Relationship Id="rId20" Type="http://schemas.openxmlformats.org/officeDocument/2006/relationships/tags" Target="../tags/tag940.xml"/><Relationship Id="rId41" Type="http://schemas.openxmlformats.org/officeDocument/2006/relationships/tags" Target="../tags/tag961.xml"/><Relationship Id="rId1" Type="http://schemas.openxmlformats.org/officeDocument/2006/relationships/tags" Target="../tags/tag921.xml"/><Relationship Id="rId6" Type="http://schemas.openxmlformats.org/officeDocument/2006/relationships/tags" Target="../tags/tag926.xml"/><Relationship Id="rId15" Type="http://schemas.openxmlformats.org/officeDocument/2006/relationships/tags" Target="../tags/tag935.xml"/><Relationship Id="rId23" Type="http://schemas.openxmlformats.org/officeDocument/2006/relationships/tags" Target="../tags/tag943.xml"/><Relationship Id="rId28" Type="http://schemas.openxmlformats.org/officeDocument/2006/relationships/tags" Target="../tags/tag948.xml"/><Relationship Id="rId36" Type="http://schemas.openxmlformats.org/officeDocument/2006/relationships/tags" Target="../tags/tag956.xml"/><Relationship Id="rId49" Type="http://schemas.openxmlformats.org/officeDocument/2006/relationships/image" Target="../media/image7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tags" Target="../tags/tag978.xml"/><Relationship Id="rId18" Type="http://schemas.openxmlformats.org/officeDocument/2006/relationships/tags" Target="../tags/tag983.xml"/><Relationship Id="rId26" Type="http://schemas.openxmlformats.org/officeDocument/2006/relationships/tags" Target="../tags/tag991.xml"/><Relationship Id="rId39" Type="http://schemas.openxmlformats.org/officeDocument/2006/relationships/tags" Target="../tags/tag1004.xml"/><Relationship Id="rId21" Type="http://schemas.openxmlformats.org/officeDocument/2006/relationships/tags" Target="../tags/tag986.xml"/><Relationship Id="rId34" Type="http://schemas.openxmlformats.org/officeDocument/2006/relationships/tags" Target="../tags/tag999.xml"/><Relationship Id="rId42" Type="http://schemas.openxmlformats.org/officeDocument/2006/relationships/tags" Target="../tags/tag1007.xml"/><Relationship Id="rId47" Type="http://schemas.openxmlformats.org/officeDocument/2006/relationships/oleObject" Target="../embeddings/oleObject20.bin"/><Relationship Id="rId50" Type="http://schemas.openxmlformats.org/officeDocument/2006/relationships/customXml" Target="../ink/ink9.xml"/><Relationship Id="rId55" Type="http://schemas.openxmlformats.org/officeDocument/2006/relationships/customXml" Target="../ink/ink11.xml"/><Relationship Id="rId7" Type="http://schemas.openxmlformats.org/officeDocument/2006/relationships/tags" Target="../tags/tag972.xml"/><Relationship Id="rId2" Type="http://schemas.openxmlformats.org/officeDocument/2006/relationships/tags" Target="../tags/tag967.xml"/><Relationship Id="rId16" Type="http://schemas.openxmlformats.org/officeDocument/2006/relationships/tags" Target="../tags/tag981.xml"/><Relationship Id="rId29" Type="http://schemas.openxmlformats.org/officeDocument/2006/relationships/tags" Target="../tags/tag994.xml"/><Relationship Id="rId11" Type="http://schemas.openxmlformats.org/officeDocument/2006/relationships/tags" Target="../tags/tag976.xml"/><Relationship Id="rId24" Type="http://schemas.openxmlformats.org/officeDocument/2006/relationships/tags" Target="../tags/tag989.xml"/><Relationship Id="rId32" Type="http://schemas.openxmlformats.org/officeDocument/2006/relationships/tags" Target="../tags/tag997.xml"/><Relationship Id="rId37" Type="http://schemas.openxmlformats.org/officeDocument/2006/relationships/tags" Target="../tags/tag1002.xml"/><Relationship Id="rId40" Type="http://schemas.openxmlformats.org/officeDocument/2006/relationships/tags" Target="../tags/tag1005.xml"/><Relationship Id="rId45" Type="http://schemas.openxmlformats.org/officeDocument/2006/relationships/slideLayout" Target="../slideLayouts/slideLayout15.xml"/><Relationship Id="rId53" Type="http://schemas.openxmlformats.org/officeDocument/2006/relationships/image" Target="../media/image12.png"/><Relationship Id="rId5" Type="http://schemas.openxmlformats.org/officeDocument/2006/relationships/tags" Target="../tags/tag970.xml"/><Relationship Id="rId10" Type="http://schemas.openxmlformats.org/officeDocument/2006/relationships/tags" Target="../tags/tag975.xml"/><Relationship Id="rId19" Type="http://schemas.openxmlformats.org/officeDocument/2006/relationships/tags" Target="../tags/tag984.xml"/><Relationship Id="rId31" Type="http://schemas.openxmlformats.org/officeDocument/2006/relationships/tags" Target="../tags/tag996.xml"/><Relationship Id="rId44" Type="http://schemas.openxmlformats.org/officeDocument/2006/relationships/tags" Target="../tags/tag1009.xml"/><Relationship Id="rId4" Type="http://schemas.openxmlformats.org/officeDocument/2006/relationships/tags" Target="../tags/tag969.xml"/><Relationship Id="rId9" Type="http://schemas.openxmlformats.org/officeDocument/2006/relationships/tags" Target="../tags/tag974.xml"/><Relationship Id="rId14" Type="http://schemas.openxmlformats.org/officeDocument/2006/relationships/tags" Target="../tags/tag979.xml"/><Relationship Id="rId22" Type="http://schemas.openxmlformats.org/officeDocument/2006/relationships/tags" Target="../tags/tag987.xml"/><Relationship Id="rId27" Type="http://schemas.openxmlformats.org/officeDocument/2006/relationships/tags" Target="../tags/tag992.xml"/><Relationship Id="rId30" Type="http://schemas.openxmlformats.org/officeDocument/2006/relationships/tags" Target="../tags/tag995.xml"/><Relationship Id="rId35" Type="http://schemas.openxmlformats.org/officeDocument/2006/relationships/tags" Target="../tags/tag1000.xml"/><Relationship Id="rId43" Type="http://schemas.openxmlformats.org/officeDocument/2006/relationships/tags" Target="../tags/tag1008.xml"/><Relationship Id="rId48" Type="http://schemas.openxmlformats.org/officeDocument/2006/relationships/image" Target="../media/image7.emf"/><Relationship Id="rId56" Type="http://schemas.openxmlformats.org/officeDocument/2006/relationships/image" Target="../media/image90.png"/><Relationship Id="rId8" Type="http://schemas.openxmlformats.org/officeDocument/2006/relationships/tags" Target="../tags/tag973.xml"/><Relationship Id="rId3" Type="http://schemas.openxmlformats.org/officeDocument/2006/relationships/tags" Target="../tags/tag968.xml"/><Relationship Id="rId12" Type="http://schemas.openxmlformats.org/officeDocument/2006/relationships/tags" Target="../tags/tag977.xml"/><Relationship Id="rId17" Type="http://schemas.openxmlformats.org/officeDocument/2006/relationships/tags" Target="../tags/tag982.xml"/><Relationship Id="rId25" Type="http://schemas.openxmlformats.org/officeDocument/2006/relationships/tags" Target="../tags/tag990.xml"/><Relationship Id="rId33" Type="http://schemas.openxmlformats.org/officeDocument/2006/relationships/tags" Target="../tags/tag998.xml"/><Relationship Id="rId38" Type="http://schemas.openxmlformats.org/officeDocument/2006/relationships/tags" Target="../tags/tag1003.xml"/><Relationship Id="rId46" Type="http://schemas.openxmlformats.org/officeDocument/2006/relationships/notesSlide" Target="../notesSlides/notesSlide9.xml"/><Relationship Id="rId20" Type="http://schemas.openxmlformats.org/officeDocument/2006/relationships/tags" Target="../tags/tag985.xml"/><Relationship Id="rId41" Type="http://schemas.openxmlformats.org/officeDocument/2006/relationships/tags" Target="../tags/tag1006.xml"/><Relationship Id="rId54" Type="http://schemas.openxmlformats.org/officeDocument/2006/relationships/customXml" Target="../ink/ink10.xml"/><Relationship Id="rId1" Type="http://schemas.openxmlformats.org/officeDocument/2006/relationships/tags" Target="../tags/tag966.xml"/><Relationship Id="rId6" Type="http://schemas.openxmlformats.org/officeDocument/2006/relationships/tags" Target="../tags/tag971.xml"/><Relationship Id="rId15" Type="http://schemas.openxmlformats.org/officeDocument/2006/relationships/tags" Target="../tags/tag980.xml"/><Relationship Id="rId23" Type="http://schemas.openxmlformats.org/officeDocument/2006/relationships/tags" Target="../tags/tag988.xml"/><Relationship Id="rId28" Type="http://schemas.openxmlformats.org/officeDocument/2006/relationships/tags" Target="../tags/tag993.xml"/><Relationship Id="rId36" Type="http://schemas.openxmlformats.org/officeDocument/2006/relationships/tags" Target="../tags/tag1001.xml"/><Relationship Id="rId49" Type="http://schemas.openxmlformats.org/officeDocument/2006/relationships/chart" Target="../charts/chart38.xml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tags" Target="../tags/tag1022.xml"/><Relationship Id="rId18" Type="http://schemas.openxmlformats.org/officeDocument/2006/relationships/tags" Target="../tags/tag1027.xml"/><Relationship Id="rId26" Type="http://schemas.openxmlformats.org/officeDocument/2006/relationships/tags" Target="../tags/tag1035.xml"/><Relationship Id="rId39" Type="http://schemas.openxmlformats.org/officeDocument/2006/relationships/oleObject" Target="../embeddings/oleObject21.bin"/><Relationship Id="rId21" Type="http://schemas.openxmlformats.org/officeDocument/2006/relationships/tags" Target="../tags/tag1030.xml"/><Relationship Id="rId34" Type="http://schemas.openxmlformats.org/officeDocument/2006/relationships/tags" Target="../tags/tag1043.xml"/><Relationship Id="rId42" Type="http://schemas.openxmlformats.org/officeDocument/2006/relationships/customXml" Target="../ink/ink12.xml"/><Relationship Id="rId7" Type="http://schemas.openxmlformats.org/officeDocument/2006/relationships/tags" Target="../tags/tag1016.xml"/><Relationship Id="rId2" Type="http://schemas.openxmlformats.org/officeDocument/2006/relationships/tags" Target="../tags/tag1011.xml"/><Relationship Id="rId16" Type="http://schemas.openxmlformats.org/officeDocument/2006/relationships/tags" Target="../tags/tag1025.xml"/><Relationship Id="rId20" Type="http://schemas.openxmlformats.org/officeDocument/2006/relationships/tags" Target="../tags/tag1029.xml"/><Relationship Id="rId29" Type="http://schemas.openxmlformats.org/officeDocument/2006/relationships/tags" Target="../tags/tag1038.xml"/><Relationship Id="rId41" Type="http://schemas.openxmlformats.org/officeDocument/2006/relationships/chart" Target="../charts/chart39.xml"/><Relationship Id="rId1" Type="http://schemas.openxmlformats.org/officeDocument/2006/relationships/tags" Target="../tags/tag1010.xml"/><Relationship Id="rId6" Type="http://schemas.openxmlformats.org/officeDocument/2006/relationships/tags" Target="../tags/tag1015.xml"/><Relationship Id="rId11" Type="http://schemas.openxmlformats.org/officeDocument/2006/relationships/tags" Target="../tags/tag1020.xml"/><Relationship Id="rId24" Type="http://schemas.openxmlformats.org/officeDocument/2006/relationships/tags" Target="../tags/tag1033.xml"/><Relationship Id="rId32" Type="http://schemas.openxmlformats.org/officeDocument/2006/relationships/tags" Target="../tags/tag1041.xml"/><Relationship Id="rId37" Type="http://schemas.openxmlformats.org/officeDocument/2006/relationships/slideLayout" Target="../slideLayouts/slideLayout15.xml"/><Relationship Id="rId40" Type="http://schemas.openxmlformats.org/officeDocument/2006/relationships/image" Target="../media/image7.emf"/><Relationship Id="rId45" Type="http://schemas.openxmlformats.org/officeDocument/2006/relationships/image" Target="../media/image12.png"/><Relationship Id="rId5" Type="http://schemas.openxmlformats.org/officeDocument/2006/relationships/tags" Target="../tags/tag1014.xml"/><Relationship Id="rId15" Type="http://schemas.openxmlformats.org/officeDocument/2006/relationships/tags" Target="../tags/tag1024.xml"/><Relationship Id="rId23" Type="http://schemas.openxmlformats.org/officeDocument/2006/relationships/tags" Target="../tags/tag1032.xml"/><Relationship Id="rId28" Type="http://schemas.openxmlformats.org/officeDocument/2006/relationships/tags" Target="../tags/tag1037.xml"/><Relationship Id="rId36" Type="http://schemas.openxmlformats.org/officeDocument/2006/relationships/tags" Target="../tags/tag1045.xml"/><Relationship Id="rId10" Type="http://schemas.openxmlformats.org/officeDocument/2006/relationships/tags" Target="../tags/tag1019.xml"/><Relationship Id="rId19" Type="http://schemas.openxmlformats.org/officeDocument/2006/relationships/tags" Target="../tags/tag1028.xml"/><Relationship Id="rId31" Type="http://schemas.openxmlformats.org/officeDocument/2006/relationships/tags" Target="../tags/tag1040.xml"/><Relationship Id="rId4" Type="http://schemas.openxmlformats.org/officeDocument/2006/relationships/tags" Target="../tags/tag1013.xml"/><Relationship Id="rId9" Type="http://schemas.openxmlformats.org/officeDocument/2006/relationships/tags" Target="../tags/tag1018.xml"/><Relationship Id="rId14" Type="http://schemas.openxmlformats.org/officeDocument/2006/relationships/tags" Target="../tags/tag1023.xml"/><Relationship Id="rId22" Type="http://schemas.openxmlformats.org/officeDocument/2006/relationships/tags" Target="../tags/tag1031.xml"/><Relationship Id="rId27" Type="http://schemas.openxmlformats.org/officeDocument/2006/relationships/tags" Target="../tags/tag1036.xml"/><Relationship Id="rId30" Type="http://schemas.openxmlformats.org/officeDocument/2006/relationships/tags" Target="../tags/tag1039.xml"/><Relationship Id="rId35" Type="http://schemas.openxmlformats.org/officeDocument/2006/relationships/tags" Target="../tags/tag1044.xml"/><Relationship Id="rId8" Type="http://schemas.openxmlformats.org/officeDocument/2006/relationships/tags" Target="../tags/tag1017.xml"/><Relationship Id="rId3" Type="http://schemas.openxmlformats.org/officeDocument/2006/relationships/tags" Target="../tags/tag1012.xml"/><Relationship Id="rId12" Type="http://schemas.openxmlformats.org/officeDocument/2006/relationships/tags" Target="../tags/tag1021.xml"/><Relationship Id="rId17" Type="http://schemas.openxmlformats.org/officeDocument/2006/relationships/tags" Target="../tags/tag1026.xml"/><Relationship Id="rId25" Type="http://schemas.openxmlformats.org/officeDocument/2006/relationships/tags" Target="../tags/tag1034.xml"/><Relationship Id="rId33" Type="http://schemas.openxmlformats.org/officeDocument/2006/relationships/tags" Target="../tags/tag1042.xml"/><Relationship Id="rId38" Type="http://schemas.openxmlformats.org/officeDocument/2006/relationships/notesSlide" Target="../notesSlides/notesSlide10.xml"/><Relationship Id="rId46" Type="http://schemas.openxmlformats.org/officeDocument/2006/relationships/customXml" Target="../ink/ink13.xml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tags" Target="../tags/tag1058.xml"/><Relationship Id="rId18" Type="http://schemas.openxmlformats.org/officeDocument/2006/relationships/tags" Target="../tags/tag1063.xml"/><Relationship Id="rId26" Type="http://schemas.openxmlformats.org/officeDocument/2006/relationships/tags" Target="../tags/tag1071.xml"/><Relationship Id="rId39" Type="http://schemas.openxmlformats.org/officeDocument/2006/relationships/tags" Target="../tags/tag1084.xml"/><Relationship Id="rId21" Type="http://schemas.openxmlformats.org/officeDocument/2006/relationships/tags" Target="../tags/tag1066.xml"/><Relationship Id="rId34" Type="http://schemas.openxmlformats.org/officeDocument/2006/relationships/tags" Target="../tags/tag1079.xml"/><Relationship Id="rId42" Type="http://schemas.openxmlformats.org/officeDocument/2006/relationships/tags" Target="../tags/tag1087.xml"/><Relationship Id="rId47" Type="http://schemas.openxmlformats.org/officeDocument/2006/relationships/oleObject" Target="../embeddings/oleObject22.bin"/><Relationship Id="rId50" Type="http://schemas.openxmlformats.org/officeDocument/2006/relationships/customXml" Target="../ink/ink14.xml"/><Relationship Id="rId7" Type="http://schemas.openxmlformats.org/officeDocument/2006/relationships/tags" Target="../tags/tag1052.xml"/><Relationship Id="rId2" Type="http://schemas.openxmlformats.org/officeDocument/2006/relationships/tags" Target="../tags/tag1047.xml"/><Relationship Id="rId16" Type="http://schemas.openxmlformats.org/officeDocument/2006/relationships/tags" Target="../tags/tag1061.xml"/><Relationship Id="rId29" Type="http://schemas.openxmlformats.org/officeDocument/2006/relationships/tags" Target="../tags/tag1074.xml"/><Relationship Id="rId11" Type="http://schemas.openxmlformats.org/officeDocument/2006/relationships/tags" Target="../tags/tag1056.xml"/><Relationship Id="rId24" Type="http://schemas.openxmlformats.org/officeDocument/2006/relationships/tags" Target="../tags/tag1069.xml"/><Relationship Id="rId32" Type="http://schemas.openxmlformats.org/officeDocument/2006/relationships/tags" Target="../tags/tag1077.xml"/><Relationship Id="rId37" Type="http://schemas.openxmlformats.org/officeDocument/2006/relationships/tags" Target="../tags/tag1082.xml"/><Relationship Id="rId40" Type="http://schemas.openxmlformats.org/officeDocument/2006/relationships/tags" Target="../tags/tag1085.xml"/><Relationship Id="rId45" Type="http://schemas.openxmlformats.org/officeDocument/2006/relationships/slideLayout" Target="../slideLayouts/slideLayout15.xml"/><Relationship Id="rId53" Type="http://schemas.openxmlformats.org/officeDocument/2006/relationships/customXml" Target="../ink/ink15.xml"/><Relationship Id="rId5" Type="http://schemas.openxmlformats.org/officeDocument/2006/relationships/tags" Target="../tags/tag1050.xml"/><Relationship Id="rId15" Type="http://schemas.openxmlformats.org/officeDocument/2006/relationships/tags" Target="../tags/tag1060.xml"/><Relationship Id="rId23" Type="http://schemas.openxmlformats.org/officeDocument/2006/relationships/tags" Target="../tags/tag1068.xml"/><Relationship Id="rId28" Type="http://schemas.openxmlformats.org/officeDocument/2006/relationships/tags" Target="../tags/tag1073.xml"/><Relationship Id="rId36" Type="http://schemas.openxmlformats.org/officeDocument/2006/relationships/tags" Target="../tags/tag1081.xml"/><Relationship Id="rId49" Type="http://schemas.openxmlformats.org/officeDocument/2006/relationships/chart" Target="../charts/chart40.xml"/><Relationship Id="rId10" Type="http://schemas.openxmlformats.org/officeDocument/2006/relationships/tags" Target="../tags/tag1055.xml"/><Relationship Id="rId19" Type="http://schemas.openxmlformats.org/officeDocument/2006/relationships/tags" Target="../tags/tag1064.xml"/><Relationship Id="rId31" Type="http://schemas.openxmlformats.org/officeDocument/2006/relationships/tags" Target="../tags/tag1076.xml"/><Relationship Id="rId44" Type="http://schemas.openxmlformats.org/officeDocument/2006/relationships/tags" Target="../tags/tag1089.xml"/><Relationship Id="rId52" Type="http://schemas.openxmlformats.org/officeDocument/2006/relationships/image" Target="../media/image13.png"/><Relationship Id="rId4" Type="http://schemas.openxmlformats.org/officeDocument/2006/relationships/tags" Target="../tags/tag1049.xml"/><Relationship Id="rId9" Type="http://schemas.openxmlformats.org/officeDocument/2006/relationships/tags" Target="../tags/tag1054.xml"/><Relationship Id="rId14" Type="http://schemas.openxmlformats.org/officeDocument/2006/relationships/tags" Target="../tags/tag1059.xml"/><Relationship Id="rId22" Type="http://schemas.openxmlformats.org/officeDocument/2006/relationships/tags" Target="../tags/tag1067.xml"/><Relationship Id="rId27" Type="http://schemas.openxmlformats.org/officeDocument/2006/relationships/tags" Target="../tags/tag1072.xml"/><Relationship Id="rId30" Type="http://schemas.openxmlformats.org/officeDocument/2006/relationships/tags" Target="../tags/tag1075.xml"/><Relationship Id="rId35" Type="http://schemas.openxmlformats.org/officeDocument/2006/relationships/tags" Target="../tags/tag1080.xml"/><Relationship Id="rId43" Type="http://schemas.openxmlformats.org/officeDocument/2006/relationships/tags" Target="../tags/tag1088.xml"/><Relationship Id="rId48" Type="http://schemas.openxmlformats.org/officeDocument/2006/relationships/image" Target="../media/image7.emf"/><Relationship Id="rId8" Type="http://schemas.openxmlformats.org/officeDocument/2006/relationships/tags" Target="../tags/tag1053.xml"/><Relationship Id="rId3" Type="http://schemas.openxmlformats.org/officeDocument/2006/relationships/tags" Target="../tags/tag1048.xml"/><Relationship Id="rId12" Type="http://schemas.openxmlformats.org/officeDocument/2006/relationships/tags" Target="../tags/tag1057.xml"/><Relationship Id="rId17" Type="http://schemas.openxmlformats.org/officeDocument/2006/relationships/tags" Target="../tags/tag1062.xml"/><Relationship Id="rId25" Type="http://schemas.openxmlformats.org/officeDocument/2006/relationships/tags" Target="../tags/tag1070.xml"/><Relationship Id="rId33" Type="http://schemas.openxmlformats.org/officeDocument/2006/relationships/tags" Target="../tags/tag1078.xml"/><Relationship Id="rId38" Type="http://schemas.openxmlformats.org/officeDocument/2006/relationships/tags" Target="../tags/tag1083.xml"/><Relationship Id="rId46" Type="http://schemas.openxmlformats.org/officeDocument/2006/relationships/notesSlide" Target="../notesSlides/notesSlide11.xml"/><Relationship Id="rId20" Type="http://schemas.openxmlformats.org/officeDocument/2006/relationships/tags" Target="../tags/tag1065.xml"/><Relationship Id="rId41" Type="http://schemas.openxmlformats.org/officeDocument/2006/relationships/tags" Target="../tags/tag1086.xml"/><Relationship Id="rId1" Type="http://schemas.openxmlformats.org/officeDocument/2006/relationships/tags" Target="../tags/tag1046.xml"/><Relationship Id="rId6" Type="http://schemas.openxmlformats.org/officeDocument/2006/relationships/tags" Target="../tags/tag1051.xml"/></Relationships>
</file>

<file path=ppt/slides/_rels/slide23.xml.rels><?xml version="1.0" encoding="UTF-8" standalone="yes"?>
<Relationships xmlns="http://schemas.openxmlformats.org/package/2006/relationships"><Relationship Id="rId13" Type="http://schemas.openxmlformats.org/officeDocument/2006/relationships/tags" Target="../tags/tag1102.xml"/><Relationship Id="rId18" Type="http://schemas.openxmlformats.org/officeDocument/2006/relationships/tags" Target="../tags/tag1107.xml"/><Relationship Id="rId26" Type="http://schemas.openxmlformats.org/officeDocument/2006/relationships/tags" Target="../tags/tag1115.xml"/><Relationship Id="rId39" Type="http://schemas.openxmlformats.org/officeDocument/2006/relationships/image" Target="../media/image7.emf"/><Relationship Id="rId21" Type="http://schemas.openxmlformats.org/officeDocument/2006/relationships/tags" Target="../tags/tag1110.xml"/><Relationship Id="rId34" Type="http://schemas.openxmlformats.org/officeDocument/2006/relationships/tags" Target="../tags/tag1123.xml"/><Relationship Id="rId42" Type="http://schemas.openxmlformats.org/officeDocument/2006/relationships/image" Target="../media/image12.png"/><Relationship Id="rId7" Type="http://schemas.openxmlformats.org/officeDocument/2006/relationships/tags" Target="../tags/tag1096.xml"/><Relationship Id="rId2" Type="http://schemas.openxmlformats.org/officeDocument/2006/relationships/tags" Target="../tags/tag1091.xml"/><Relationship Id="rId16" Type="http://schemas.openxmlformats.org/officeDocument/2006/relationships/tags" Target="../tags/tag1105.xml"/><Relationship Id="rId20" Type="http://schemas.openxmlformats.org/officeDocument/2006/relationships/tags" Target="../tags/tag1109.xml"/><Relationship Id="rId29" Type="http://schemas.openxmlformats.org/officeDocument/2006/relationships/tags" Target="../tags/tag1118.xml"/><Relationship Id="rId41" Type="http://schemas.openxmlformats.org/officeDocument/2006/relationships/customXml" Target="../ink/ink16.xml"/><Relationship Id="rId1" Type="http://schemas.openxmlformats.org/officeDocument/2006/relationships/tags" Target="../tags/tag1090.xml"/><Relationship Id="rId6" Type="http://schemas.openxmlformats.org/officeDocument/2006/relationships/tags" Target="../tags/tag1095.xml"/><Relationship Id="rId11" Type="http://schemas.openxmlformats.org/officeDocument/2006/relationships/tags" Target="../tags/tag1100.xml"/><Relationship Id="rId24" Type="http://schemas.openxmlformats.org/officeDocument/2006/relationships/tags" Target="../tags/tag1113.xml"/><Relationship Id="rId32" Type="http://schemas.openxmlformats.org/officeDocument/2006/relationships/tags" Target="../tags/tag1121.xml"/><Relationship Id="rId37" Type="http://schemas.openxmlformats.org/officeDocument/2006/relationships/notesSlide" Target="../notesSlides/notesSlide12.xml"/><Relationship Id="rId40" Type="http://schemas.openxmlformats.org/officeDocument/2006/relationships/chart" Target="../charts/chart41.xml"/><Relationship Id="rId5" Type="http://schemas.openxmlformats.org/officeDocument/2006/relationships/tags" Target="../tags/tag1094.xml"/><Relationship Id="rId15" Type="http://schemas.openxmlformats.org/officeDocument/2006/relationships/tags" Target="../tags/tag1104.xml"/><Relationship Id="rId23" Type="http://schemas.openxmlformats.org/officeDocument/2006/relationships/tags" Target="../tags/tag1112.xml"/><Relationship Id="rId28" Type="http://schemas.openxmlformats.org/officeDocument/2006/relationships/tags" Target="../tags/tag1117.xml"/><Relationship Id="rId36" Type="http://schemas.openxmlformats.org/officeDocument/2006/relationships/slideLayout" Target="../slideLayouts/slideLayout15.xml"/><Relationship Id="rId10" Type="http://schemas.openxmlformats.org/officeDocument/2006/relationships/tags" Target="../tags/tag1099.xml"/><Relationship Id="rId19" Type="http://schemas.openxmlformats.org/officeDocument/2006/relationships/tags" Target="../tags/tag1108.xml"/><Relationship Id="rId31" Type="http://schemas.openxmlformats.org/officeDocument/2006/relationships/tags" Target="../tags/tag1120.xml"/><Relationship Id="rId4" Type="http://schemas.openxmlformats.org/officeDocument/2006/relationships/tags" Target="../tags/tag1093.xml"/><Relationship Id="rId9" Type="http://schemas.openxmlformats.org/officeDocument/2006/relationships/tags" Target="../tags/tag1098.xml"/><Relationship Id="rId14" Type="http://schemas.openxmlformats.org/officeDocument/2006/relationships/tags" Target="../tags/tag1103.xml"/><Relationship Id="rId22" Type="http://schemas.openxmlformats.org/officeDocument/2006/relationships/tags" Target="../tags/tag1111.xml"/><Relationship Id="rId27" Type="http://schemas.openxmlformats.org/officeDocument/2006/relationships/tags" Target="../tags/tag1116.xml"/><Relationship Id="rId30" Type="http://schemas.openxmlformats.org/officeDocument/2006/relationships/tags" Target="../tags/tag1119.xml"/><Relationship Id="rId35" Type="http://schemas.openxmlformats.org/officeDocument/2006/relationships/tags" Target="../tags/tag1124.xml"/><Relationship Id="rId43" Type="http://schemas.openxmlformats.org/officeDocument/2006/relationships/customXml" Target="../ink/ink17.xml"/><Relationship Id="rId8" Type="http://schemas.openxmlformats.org/officeDocument/2006/relationships/tags" Target="../tags/tag1097.xml"/><Relationship Id="rId3" Type="http://schemas.openxmlformats.org/officeDocument/2006/relationships/tags" Target="../tags/tag1092.xml"/><Relationship Id="rId12" Type="http://schemas.openxmlformats.org/officeDocument/2006/relationships/tags" Target="../tags/tag1101.xml"/><Relationship Id="rId17" Type="http://schemas.openxmlformats.org/officeDocument/2006/relationships/tags" Target="../tags/tag1106.xml"/><Relationship Id="rId25" Type="http://schemas.openxmlformats.org/officeDocument/2006/relationships/tags" Target="../tags/tag1114.xml"/><Relationship Id="rId33" Type="http://schemas.openxmlformats.org/officeDocument/2006/relationships/tags" Target="../tags/tag1122.xml"/><Relationship Id="rId38" Type="http://schemas.openxmlformats.org/officeDocument/2006/relationships/oleObject" Target="../embeddings/oleObject23.bin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tags" Target="../tags/tag1137.xml"/><Relationship Id="rId18" Type="http://schemas.openxmlformats.org/officeDocument/2006/relationships/tags" Target="../tags/tag1142.xml"/><Relationship Id="rId26" Type="http://schemas.openxmlformats.org/officeDocument/2006/relationships/tags" Target="../tags/tag1150.xml"/><Relationship Id="rId39" Type="http://schemas.openxmlformats.org/officeDocument/2006/relationships/notesSlide" Target="../notesSlides/notesSlide13.xml"/><Relationship Id="rId21" Type="http://schemas.openxmlformats.org/officeDocument/2006/relationships/tags" Target="../tags/tag1145.xml"/><Relationship Id="rId34" Type="http://schemas.openxmlformats.org/officeDocument/2006/relationships/tags" Target="../tags/tag1158.xml"/><Relationship Id="rId42" Type="http://schemas.openxmlformats.org/officeDocument/2006/relationships/chart" Target="../charts/chart42.xml"/><Relationship Id="rId7" Type="http://schemas.openxmlformats.org/officeDocument/2006/relationships/tags" Target="../tags/tag1131.xml"/><Relationship Id="rId2" Type="http://schemas.openxmlformats.org/officeDocument/2006/relationships/tags" Target="../tags/tag1126.xml"/><Relationship Id="rId16" Type="http://schemas.openxmlformats.org/officeDocument/2006/relationships/tags" Target="../tags/tag1140.xml"/><Relationship Id="rId29" Type="http://schemas.openxmlformats.org/officeDocument/2006/relationships/tags" Target="../tags/tag1153.xml"/><Relationship Id="rId1" Type="http://schemas.openxmlformats.org/officeDocument/2006/relationships/tags" Target="../tags/tag1125.xml"/><Relationship Id="rId6" Type="http://schemas.openxmlformats.org/officeDocument/2006/relationships/tags" Target="../tags/tag1130.xml"/><Relationship Id="rId11" Type="http://schemas.openxmlformats.org/officeDocument/2006/relationships/tags" Target="../tags/tag1135.xml"/><Relationship Id="rId24" Type="http://schemas.openxmlformats.org/officeDocument/2006/relationships/tags" Target="../tags/tag1148.xml"/><Relationship Id="rId32" Type="http://schemas.openxmlformats.org/officeDocument/2006/relationships/tags" Target="../tags/tag1156.xml"/><Relationship Id="rId37" Type="http://schemas.openxmlformats.org/officeDocument/2006/relationships/tags" Target="../tags/tag1161.xml"/><Relationship Id="rId40" Type="http://schemas.openxmlformats.org/officeDocument/2006/relationships/oleObject" Target="../embeddings/oleObject24.bin"/><Relationship Id="rId45" Type="http://schemas.openxmlformats.org/officeDocument/2006/relationships/customXml" Target="../ink/ink19.xml"/><Relationship Id="rId5" Type="http://schemas.openxmlformats.org/officeDocument/2006/relationships/tags" Target="../tags/tag1129.xml"/><Relationship Id="rId15" Type="http://schemas.openxmlformats.org/officeDocument/2006/relationships/tags" Target="../tags/tag1139.xml"/><Relationship Id="rId23" Type="http://schemas.openxmlformats.org/officeDocument/2006/relationships/tags" Target="../tags/tag1147.xml"/><Relationship Id="rId28" Type="http://schemas.openxmlformats.org/officeDocument/2006/relationships/tags" Target="../tags/tag1152.xml"/><Relationship Id="rId36" Type="http://schemas.openxmlformats.org/officeDocument/2006/relationships/tags" Target="../tags/tag1160.xml"/><Relationship Id="rId10" Type="http://schemas.openxmlformats.org/officeDocument/2006/relationships/tags" Target="../tags/tag1134.xml"/><Relationship Id="rId19" Type="http://schemas.openxmlformats.org/officeDocument/2006/relationships/tags" Target="../tags/tag1143.xml"/><Relationship Id="rId31" Type="http://schemas.openxmlformats.org/officeDocument/2006/relationships/tags" Target="../tags/tag1155.xml"/><Relationship Id="rId44" Type="http://schemas.openxmlformats.org/officeDocument/2006/relationships/image" Target="../media/image12.png"/><Relationship Id="rId4" Type="http://schemas.openxmlformats.org/officeDocument/2006/relationships/tags" Target="../tags/tag1128.xml"/><Relationship Id="rId9" Type="http://schemas.openxmlformats.org/officeDocument/2006/relationships/tags" Target="../tags/tag1133.xml"/><Relationship Id="rId14" Type="http://schemas.openxmlformats.org/officeDocument/2006/relationships/tags" Target="../tags/tag1138.xml"/><Relationship Id="rId22" Type="http://schemas.openxmlformats.org/officeDocument/2006/relationships/tags" Target="../tags/tag1146.xml"/><Relationship Id="rId27" Type="http://schemas.openxmlformats.org/officeDocument/2006/relationships/tags" Target="../tags/tag1151.xml"/><Relationship Id="rId30" Type="http://schemas.openxmlformats.org/officeDocument/2006/relationships/tags" Target="../tags/tag1154.xml"/><Relationship Id="rId35" Type="http://schemas.openxmlformats.org/officeDocument/2006/relationships/tags" Target="../tags/tag1159.xml"/><Relationship Id="rId43" Type="http://schemas.openxmlformats.org/officeDocument/2006/relationships/customXml" Target="../ink/ink18.xml"/><Relationship Id="rId8" Type="http://schemas.openxmlformats.org/officeDocument/2006/relationships/tags" Target="../tags/tag1132.xml"/><Relationship Id="rId3" Type="http://schemas.openxmlformats.org/officeDocument/2006/relationships/tags" Target="../tags/tag1127.xml"/><Relationship Id="rId12" Type="http://schemas.openxmlformats.org/officeDocument/2006/relationships/tags" Target="../tags/tag1136.xml"/><Relationship Id="rId17" Type="http://schemas.openxmlformats.org/officeDocument/2006/relationships/tags" Target="../tags/tag1141.xml"/><Relationship Id="rId25" Type="http://schemas.openxmlformats.org/officeDocument/2006/relationships/tags" Target="../tags/tag1149.xml"/><Relationship Id="rId33" Type="http://schemas.openxmlformats.org/officeDocument/2006/relationships/tags" Target="../tags/tag1157.xml"/><Relationship Id="rId38" Type="http://schemas.openxmlformats.org/officeDocument/2006/relationships/slideLayout" Target="../slideLayouts/slideLayout15.xml"/><Relationship Id="rId20" Type="http://schemas.openxmlformats.org/officeDocument/2006/relationships/tags" Target="../tags/tag1144.xml"/><Relationship Id="rId41" Type="http://schemas.openxmlformats.org/officeDocument/2006/relationships/image" Target="../media/image7.emf"/></Relationships>
</file>

<file path=ppt/slides/_rels/slide25.xml.rels><?xml version="1.0" encoding="UTF-8" standalone="yes"?>
<Relationships xmlns="http://schemas.openxmlformats.org/package/2006/relationships"><Relationship Id="rId13" Type="http://schemas.openxmlformats.org/officeDocument/2006/relationships/tags" Target="../tags/tag1174.xml"/><Relationship Id="rId18" Type="http://schemas.openxmlformats.org/officeDocument/2006/relationships/tags" Target="../tags/tag1179.xml"/><Relationship Id="rId26" Type="http://schemas.openxmlformats.org/officeDocument/2006/relationships/tags" Target="../tags/tag1187.xml"/><Relationship Id="rId39" Type="http://schemas.openxmlformats.org/officeDocument/2006/relationships/oleObject" Target="../embeddings/oleObject25.bin"/><Relationship Id="rId21" Type="http://schemas.openxmlformats.org/officeDocument/2006/relationships/tags" Target="../tags/tag1182.xml"/><Relationship Id="rId34" Type="http://schemas.openxmlformats.org/officeDocument/2006/relationships/tags" Target="../tags/tag1195.xml"/><Relationship Id="rId42" Type="http://schemas.openxmlformats.org/officeDocument/2006/relationships/customXml" Target="../ink/ink20.xml"/><Relationship Id="rId7" Type="http://schemas.openxmlformats.org/officeDocument/2006/relationships/tags" Target="../tags/tag1168.xml"/><Relationship Id="rId2" Type="http://schemas.openxmlformats.org/officeDocument/2006/relationships/tags" Target="../tags/tag1163.xml"/><Relationship Id="rId16" Type="http://schemas.openxmlformats.org/officeDocument/2006/relationships/tags" Target="../tags/tag1177.xml"/><Relationship Id="rId20" Type="http://schemas.openxmlformats.org/officeDocument/2006/relationships/tags" Target="../tags/tag1181.xml"/><Relationship Id="rId29" Type="http://schemas.openxmlformats.org/officeDocument/2006/relationships/tags" Target="../tags/tag1190.xml"/><Relationship Id="rId41" Type="http://schemas.openxmlformats.org/officeDocument/2006/relationships/chart" Target="../charts/chart43.xml"/><Relationship Id="rId1" Type="http://schemas.openxmlformats.org/officeDocument/2006/relationships/tags" Target="../tags/tag1162.xml"/><Relationship Id="rId6" Type="http://schemas.openxmlformats.org/officeDocument/2006/relationships/tags" Target="../tags/tag1167.xml"/><Relationship Id="rId11" Type="http://schemas.openxmlformats.org/officeDocument/2006/relationships/tags" Target="../tags/tag1172.xml"/><Relationship Id="rId24" Type="http://schemas.openxmlformats.org/officeDocument/2006/relationships/tags" Target="../tags/tag1185.xml"/><Relationship Id="rId32" Type="http://schemas.openxmlformats.org/officeDocument/2006/relationships/tags" Target="../tags/tag1193.xml"/><Relationship Id="rId37" Type="http://schemas.openxmlformats.org/officeDocument/2006/relationships/slideLayout" Target="../slideLayouts/slideLayout15.xml"/><Relationship Id="rId40" Type="http://schemas.openxmlformats.org/officeDocument/2006/relationships/image" Target="../media/image7.emf"/><Relationship Id="rId5" Type="http://schemas.openxmlformats.org/officeDocument/2006/relationships/tags" Target="../tags/tag1166.xml"/><Relationship Id="rId15" Type="http://schemas.openxmlformats.org/officeDocument/2006/relationships/tags" Target="../tags/tag1176.xml"/><Relationship Id="rId23" Type="http://schemas.openxmlformats.org/officeDocument/2006/relationships/tags" Target="../tags/tag1184.xml"/><Relationship Id="rId28" Type="http://schemas.openxmlformats.org/officeDocument/2006/relationships/tags" Target="../tags/tag1189.xml"/><Relationship Id="rId36" Type="http://schemas.openxmlformats.org/officeDocument/2006/relationships/tags" Target="../tags/tag1197.xml"/><Relationship Id="rId10" Type="http://schemas.openxmlformats.org/officeDocument/2006/relationships/tags" Target="../tags/tag1171.xml"/><Relationship Id="rId19" Type="http://schemas.openxmlformats.org/officeDocument/2006/relationships/tags" Target="../tags/tag1180.xml"/><Relationship Id="rId31" Type="http://schemas.openxmlformats.org/officeDocument/2006/relationships/tags" Target="../tags/tag1192.xml"/><Relationship Id="rId44" Type="http://schemas.openxmlformats.org/officeDocument/2006/relationships/customXml" Target="../ink/ink21.xml"/><Relationship Id="rId4" Type="http://schemas.openxmlformats.org/officeDocument/2006/relationships/tags" Target="../tags/tag1165.xml"/><Relationship Id="rId9" Type="http://schemas.openxmlformats.org/officeDocument/2006/relationships/tags" Target="../tags/tag1170.xml"/><Relationship Id="rId14" Type="http://schemas.openxmlformats.org/officeDocument/2006/relationships/tags" Target="../tags/tag1175.xml"/><Relationship Id="rId22" Type="http://schemas.openxmlformats.org/officeDocument/2006/relationships/tags" Target="../tags/tag1183.xml"/><Relationship Id="rId27" Type="http://schemas.openxmlformats.org/officeDocument/2006/relationships/tags" Target="../tags/tag1188.xml"/><Relationship Id="rId30" Type="http://schemas.openxmlformats.org/officeDocument/2006/relationships/tags" Target="../tags/tag1191.xml"/><Relationship Id="rId35" Type="http://schemas.openxmlformats.org/officeDocument/2006/relationships/tags" Target="../tags/tag1196.xml"/><Relationship Id="rId43" Type="http://schemas.openxmlformats.org/officeDocument/2006/relationships/image" Target="../media/image12.png"/><Relationship Id="rId8" Type="http://schemas.openxmlformats.org/officeDocument/2006/relationships/tags" Target="../tags/tag1169.xml"/><Relationship Id="rId3" Type="http://schemas.openxmlformats.org/officeDocument/2006/relationships/tags" Target="../tags/tag1164.xml"/><Relationship Id="rId12" Type="http://schemas.openxmlformats.org/officeDocument/2006/relationships/tags" Target="../tags/tag1173.xml"/><Relationship Id="rId17" Type="http://schemas.openxmlformats.org/officeDocument/2006/relationships/tags" Target="../tags/tag1178.xml"/><Relationship Id="rId25" Type="http://schemas.openxmlformats.org/officeDocument/2006/relationships/tags" Target="../tags/tag1186.xml"/><Relationship Id="rId33" Type="http://schemas.openxmlformats.org/officeDocument/2006/relationships/tags" Target="../tags/tag1194.xml"/><Relationship Id="rId38" Type="http://schemas.openxmlformats.org/officeDocument/2006/relationships/notesSlide" Target="../notesSlides/notesSlide14.xml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tags" Target="../tags/tag1210.xml"/><Relationship Id="rId18" Type="http://schemas.openxmlformats.org/officeDocument/2006/relationships/tags" Target="../tags/tag1215.xml"/><Relationship Id="rId26" Type="http://schemas.openxmlformats.org/officeDocument/2006/relationships/tags" Target="../tags/tag1223.xml"/><Relationship Id="rId39" Type="http://schemas.openxmlformats.org/officeDocument/2006/relationships/tags" Target="../tags/tag1236.xml"/><Relationship Id="rId21" Type="http://schemas.openxmlformats.org/officeDocument/2006/relationships/tags" Target="../tags/tag1218.xml"/><Relationship Id="rId34" Type="http://schemas.openxmlformats.org/officeDocument/2006/relationships/tags" Target="../tags/tag1231.xml"/><Relationship Id="rId42" Type="http://schemas.openxmlformats.org/officeDocument/2006/relationships/slideLayout" Target="../slideLayouts/slideLayout15.xml"/><Relationship Id="rId47" Type="http://schemas.openxmlformats.org/officeDocument/2006/relationships/customXml" Target="../ink/ink22.xml"/><Relationship Id="rId7" Type="http://schemas.openxmlformats.org/officeDocument/2006/relationships/tags" Target="../tags/tag1204.xml"/><Relationship Id="rId2" Type="http://schemas.openxmlformats.org/officeDocument/2006/relationships/tags" Target="../tags/tag1199.xml"/><Relationship Id="rId16" Type="http://schemas.openxmlformats.org/officeDocument/2006/relationships/tags" Target="../tags/tag1213.xml"/><Relationship Id="rId29" Type="http://schemas.openxmlformats.org/officeDocument/2006/relationships/tags" Target="../tags/tag1226.xml"/><Relationship Id="rId11" Type="http://schemas.openxmlformats.org/officeDocument/2006/relationships/tags" Target="../tags/tag1208.xml"/><Relationship Id="rId24" Type="http://schemas.openxmlformats.org/officeDocument/2006/relationships/tags" Target="../tags/tag1221.xml"/><Relationship Id="rId32" Type="http://schemas.openxmlformats.org/officeDocument/2006/relationships/tags" Target="../tags/tag1229.xml"/><Relationship Id="rId37" Type="http://schemas.openxmlformats.org/officeDocument/2006/relationships/tags" Target="../tags/tag1234.xml"/><Relationship Id="rId40" Type="http://schemas.openxmlformats.org/officeDocument/2006/relationships/tags" Target="../tags/tag1237.xml"/><Relationship Id="rId45" Type="http://schemas.openxmlformats.org/officeDocument/2006/relationships/image" Target="../media/image7.emf"/><Relationship Id="rId5" Type="http://schemas.openxmlformats.org/officeDocument/2006/relationships/tags" Target="../tags/tag1202.xml"/><Relationship Id="rId15" Type="http://schemas.openxmlformats.org/officeDocument/2006/relationships/tags" Target="../tags/tag1212.xml"/><Relationship Id="rId23" Type="http://schemas.openxmlformats.org/officeDocument/2006/relationships/tags" Target="../tags/tag1220.xml"/><Relationship Id="rId28" Type="http://schemas.openxmlformats.org/officeDocument/2006/relationships/tags" Target="../tags/tag1225.xml"/><Relationship Id="rId36" Type="http://schemas.openxmlformats.org/officeDocument/2006/relationships/tags" Target="../tags/tag1233.xml"/><Relationship Id="rId49" Type="http://schemas.openxmlformats.org/officeDocument/2006/relationships/customXml" Target="../ink/ink23.xml"/><Relationship Id="rId10" Type="http://schemas.openxmlformats.org/officeDocument/2006/relationships/tags" Target="../tags/tag1207.xml"/><Relationship Id="rId19" Type="http://schemas.openxmlformats.org/officeDocument/2006/relationships/tags" Target="../tags/tag1216.xml"/><Relationship Id="rId31" Type="http://schemas.openxmlformats.org/officeDocument/2006/relationships/tags" Target="../tags/tag1228.xml"/><Relationship Id="rId44" Type="http://schemas.openxmlformats.org/officeDocument/2006/relationships/oleObject" Target="../embeddings/oleObject26.bin"/><Relationship Id="rId4" Type="http://schemas.openxmlformats.org/officeDocument/2006/relationships/tags" Target="../tags/tag1201.xml"/><Relationship Id="rId9" Type="http://schemas.openxmlformats.org/officeDocument/2006/relationships/tags" Target="../tags/tag1206.xml"/><Relationship Id="rId14" Type="http://schemas.openxmlformats.org/officeDocument/2006/relationships/tags" Target="../tags/tag1211.xml"/><Relationship Id="rId22" Type="http://schemas.openxmlformats.org/officeDocument/2006/relationships/tags" Target="../tags/tag1219.xml"/><Relationship Id="rId27" Type="http://schemas.openxmlformats.org/officeDocument/2006/relationships/tags" Target="../tags/tag1224.xml"/><Relationship Id="rId30" Type="http://schemas.openxmlformats.org/officeDocument/2006/relationships/tags" Target="../tags/tag1227.xml"/><Relationship Id="rId35" Type="http://schemas.openxmlformats.org/officeDocument/2006/relationships/tags" Target="../tags/tag1232.xml"/><Relationship Id="rId43" Type="http://schemas.openxmlformats.org/officeDocument/2006/relationships/notesSlide" Target="../notesSlides/notesSlide15.xml"/><Relationship Id="rId48" Type="http://schemas.openxmlformats.org/officeDocument/2006/relationships/image" Target="NULL"/><Relationship Id="rId8" Type="http://schemas.openxmlformats.org/officeDocument/2006/relationships/tags" Target="../tags/tag1205.xml"/><Relationship Id="rId3" Type="http://schemas.openxmlformats.org/officeDocument/2006/relationships/tags" Target="../tags/tag1200.xml"/><Relationship Id="rId12" Type="http://schemas.openxmlformats.org/officeDocument/2006/relationships/tags" Target="../tags/tag1209.xml"/><Relationship Id="rId17" Type="http://schemas.openxmlformats.org/officeDocument/2006/relationships/tags" Target="../tags/tag1214.xml"/><Relationship Id="rId25" Type="http://schemas.openxmlformats.org/officeDocument/2006/relationships/tags" Target="../tags/tag1222.xml"/><Relationship Id="rId33" Type="http://schemas.openxmlformats.org/officeDocument/2006/relationships/tags" Target="../tags/tag1230.xml"/><Relationship Id="rId38" Type="http://schemas.openxmlformats.org/officeDocument/2006/relationships/tags" Target="../tags/tag1235.xml"/><Relationship Id="rId46" Type="http://schemas.openxmlformats.org/officeDocument/2006/relationships/chart" Target="../charts/chart44.xml"/><Relationship Id="rId20" Type="http://schemas.openxmlformats.org/officeDocument/2006/relationships/tags" Target="../tags/tag1217.xml"/><Relationship Id="rId41" Type="http://schemas.openxmlformats.org/officeDocument/2006/relationships/tags" Target="../tags/tag1238.xml"/><Relationship Id="rId1" Type="http://schemas.openxmlformats.org/officeDocument/2006/relationships/tags" Target="../tags/tag1198.xml"/><Relationship Id="rId6" Type="http://schemas.openxmlformats.org/officeDocument/2006/relationships/tags" Target="../tags/tag1203.xml"/></Relationships>
</file>

<file path=ppt/slides/_rels/slide27.xml.rels><?xml version="1.0" encoding="UTF-8" standalone="yes"?>
<Relationships xmlns="http://schemas.openxmlformats.org/package/2006/relationships"><Relationship Id="rId13" Type="http://schemas.openxmlformats.org/officeDocument/2006/relationships/tags" Target="../tags/tag1251.xml"/><Relationship Id="rId18" Type="http://schemas.openxmlformats.org/officeDocument/2006/relationships/tags" Target="../tags/tag1256.xml"/><Relationship Id="rId26" Type="http://schemas.openxmlformats.org/officeDocument/2006/relationships/tags" Target="../tags/tag1264.xml"/><Relationship Id="rId39" Type="http://schemas.openxmlformats.org/officeDocument/2006/relationships/customXml" Target="../ink/ink24.xml"/><Relationship Id="rId21" Type="http://schemas.openxmlformats.org/officeDocument/2006/relationships/tags" Target="../tags/tag1259.xml"/><Relationship Id="rId34" Type="http://schemas.openxmlformats.org/officeDocument/2006/relationships/slideLayout" Target="../slideLayouts/slideLayout15.xml"/><Relationship Id="rId7" Type="http://schemas.openxmlformats.org/officeDocument/2006/relationships/tags" Target="../tags/tag1245.xml"/><Relationship Id="rId2" Type="http://schemas.openxmlformats.org/officeDocument/2006/relationships/tags" Target="../tags/tag1240.xml"/><Relationship Id="rId16" Type="http://schemas.openxmlformats.org/officeDocument/2006/relationships/tags" Target="../tags/tag1254.xml"/><Relationship Id="rId20" Type="http://schemas.openxmlformats.org/officeDocument/2006/relationships/tags" Target="../tags/tag1258.xml"/><Relationship Id="rId29" Type="http://schemas.openxmlformats.org/officeDocument/2006/relationships/tags" Target="../tags/tag1267.xml"/><Relationship Id="rId41" Type="http://schemas.openxmlformats.org/officeDocument/2006/relationships/customXml" Target="../ink/ink25.xml"/><Relationship Id="rId1" Type="http://schemas.openxmlformats.org/officeDocument/2006/relationships/tags" Target="../tags/tag1239.xml"/><Relationship Id="rId6" Type="http://schemas.openxmlformats.org/officeDocument/2006/relationships/tags" Target="../tags/tag1244.xml"/><Relationship Id="rId11" Type="http://schemas.openxmlformats.org/officeDocument/2006/relationships/tags" Target="../tags/tag1249.xml"/><Relationship Id="rId24" Type="http://schemas.openxmlformats.org/officeDocument/2006/relationships/tags" Target="../tags/tag1262.xml"/><Relationship Id="rId32" Type="http://schemas.openxmlformats.org/officeDocument/2006/relationships/tags" Target="../tags/tag1270.xml"/><Relationship Id="rId37" Type="http://schemas.openxmlformats.org/officeDocument/2006/relationships/image" Target="../media/image7.emf"/><Relationship Id="rId40" Type="http://schemas.openxmlformats.org/officeDocument/2006/relationships/image" Target="../media/image12.png"/><Relationship Id="rId5" Type="http://schemas.openxmlformats.org/officeDocument/2006/relationships/tags" Target="../tags/tag1243.xml"/><Relationship Id="rId15" Type="http://schemas.openxmlformats.org/officeDocument/2006/relationships/tags" Target="../tags/tag1253.xml"/><Relationship Id="rId23" Type="http://schemas.openxmlformats.org/officeDocument/2006/relationships/tags" Target="../tags/tag1261.xml"/><Relationship Id="rId28" Type="http://schemas.openxmlformats.org/officeDocument/2006/relationships/tags" Target="../tags/tag1266.xml"/><Relationship Id="rId36" Type="http://schemas.openxmlformats.org/officeDocument/2006/relationships/oleObject" Target="../embeddings/oleObject27.bin"/><Relationship Id="rId10" Type="http://schemas.openxmlformats.org/officeDocument/2006/relationships/tags" Target="../tags/tag1248.xml"/><Relationship Id="rId19" Type="http://schemas.openxmlformats.org/officeDocument/2006/relationships/tags" Target="../tags/tag1257.xml"/><Relationship Id="rId31" Type="http://schemas.openxmlformats.org/officeDocument/2006/relationships/tags" Target="../tags/tag1269.xml"/><Relationship Id="rId4" Type="http://schemas.openxmlformats.org/officeDocument/2006/relationships/tags" Target="../tags/tag1242.xml"/><Relationship Id="rId9" Type="http://schemas.openxmlformats.org/officeDocument/2006/relationships/tags" Target="../tags/tag1247.xml"/><Relationship Id="rId14" Type="http://schemas.openxmlformats.org/officeDocument/2006/relationships/tags" Target="../tags/tag1252.xml"/><Relationship Id="rId22" Type="http://schemas.openxmlformats.org/officeDocument/2006/relationships/tags" Target="../tags/tag1260.xml"/><Relationship Id="rId27" Type="http://schemas.openxmlformats.org/officeDocument/2006/relationships/tags" Target="../tags/tag1265.xml"/><Relationship Id="rId30" Type="http://schemas.openxmlformats.org/officeDocument/2006/relationships/tags" Target="../tags/tag1268.xml"/><Relationship Id="rId35" Type="http://schemas.openxmlformats.org/officeDocument/2006/relationships/notesSlide" Target="../notesSlides/notesSlide16.xml"/><Relationship Id="rId8" Type="http://schemas.openxmlformats.org/officeDocument/2006/relationships/tags" Target="../tags/tag1246.xml"/><Relationship Id="rId3" Type="http://schemas.openxmlformats.org/officeDocument/2006/relationships/tags" Target="../tags/tag1241.xml"/><Relationship Id="rId12" Type="http://schemas.openxmlformats.org/officeDocument/2006/relationships/tags" Target="../tags/tag1250.xml"/><Relationship Id="rId17" Type="http://schemas.openxmlformats.org/officeDocument/2006/relationships/tags" Target="../tags/tag1255.xml"/><Relationship Id="rId25" Type="http://schemas.openxmlformats.org/officeDocument/2006/relationships/tags" Target="../tags/tag1263.xml"/><Relationship Id="rId33" Type="http://schemas.openxmlformats.org/officeDocument/2006/relationships/tags" Target="../tags/tag1271.xml"/><Relationship Id="rId38" Type="http://schemas.openxmlformats.org/officeDocument/2006/relationships/chart" Target="../charts/chart45.xml"/></Relationships>
</file>

<file path=ppt/slides/_rels/slide28.xml.rels><?xml version="1.0" encoding="UTF-8" standalone="yes"?>
<Relationships xmlns="http://schemas.openxmlformats.org/package/2006/relationships"><Relationship Id="rId26" Type="http://schemas.openxmlformats.org/officeDocument/2006/relationships/tags" Target="../tags/tag1297.xml"/><Relationship Id="rId21" Type="http://schemas.openxmlformats.org/officeDocument/2006/relationships/tags" Target="../tags/tag1292.xml"/><Relationship Id="rId34" Type="http://schemas.openxmlformats.org/officeDocument/2006/relationships/tags" Target="../tags/tag1305.xml"/><Relationship Id="rId42" Type="http://schemas.openxmlformats.org/officeDocument/2006/relationships/tags" Target="../tags/tag1313.xml"/><Relationship Id="rId47" Type="http://schemas.openxmlformats.org/officeDocument/2006/relationships/tags" Target="../tags/tag1318.xml"/><Relationship Id="rId50" Type="http://schemas.openxmlformats.org/officeDocument/2006/relationships/tags" Target="../tags/tag1321.xml"/><Relationship Id="rId55" Type="http://schemas.openxmlformats.org/officeDocument/2006/relationships/tags" Target="../tags/tag1326.xml"/><Relationship Id="rId63" Type="http://schemas.openxmlformats.org/officeDocument/2006/relationships/image" Target="../media/image12.emf"/><Relationship Id="rId7" Type="http://schemas.openxmlformats.org/officeDocument/2006/relationships/tags" Target="../tags/tag1278.xml"/><Relationship Id="rId2" Type="http://schemas.openxmlformats.org/officeDocument/2006/relationships/tags" Target="../tags/tag1273.xml"/><Relationship Id="rId16" Type="http://schemas.openxmlformats.org/officeDocument/2006/relationships/tags" Target="../tags/tag1287.xml"/><Relationship Id="rId29" Type="http://schemas.openxmlformats.org/officeDocument/2006/relationships/tags" Target="../tags/tag1300.xml"/><Relationship Id="rId11" Type="http://schemas.openxmlformats.org/officeDocument/2006/relationships/tags" Target="../tags/tag1282.xml"/><Relationship Id="rId24" Type="http://schemas.openxmlformats.org/officeDocument/2006/relationships/tags" Target="../tags/tag1295.xml"/><Relationship Id="rId32" Type="http://schemas.openxmlformats.org/officeDocument/2006/relationships/tags" Target="../tags/tag1303.xml"/><Relationship Id="rId37" Type="http://schemas.openxmlformats.org/officeDocument/2006/relationships/tags" Target="../tags/tag1308.xml"/><Relationship Id="rId40" Type="http://schemas.openxmlformats.org/officeDocument/2006/relationships/tags" Target="../tags/tag1311.xml"/><Relationship Id="rId45" Type="http://schemas.openxmlformats.org/officeDocument/2006/relationships/tags" Target="../tags/tag1316.xml"/><Relationship Id="rId53" Type="http://schemas.openxmlformats.org/officeDocument/2006/relationships/tags" Target="../tags/tag1324.xml"/><Relationship Id="rId58" Type="http://schemas.openxmlformats.org/officeDocument/2006/relationships/tags" Target="../tags/tag1329.xml"/><Relationship Id="rId5" Type="http://schemas.openxmlformats.org/officeDocument/2006/relationships/tags" Target="../tags/tag1276.xml"/><Relationship Id="rId61" Type="http://schemas.openxmlformats.org/officeDocument/2006/relationships/slideLayout" Target="../slideLayouts/slideLayout15.xml"/><Relationship Id="rId19" Type="http://schemas.openxmlformats.org/officeDocument/2006/relationships/tags" Target="../tags/tag1290.xml"/><Relationship Id="rId14" Type="http://schemas.openxmlformats.org/officeDocument/2006/relationships/tags" Target="../tags/tag1285.xml"/><Relationship Id="rId22" Type="http://schemas.openxmlformats.org/officeDocument/2006/relationships/tags" Target="../tags/tag1293.xml"/><Relationship Id="rId27" Type="http://schemas.openxmlformats.org/officeDocument/2006/relationships/tags" Target="../tags/tag1298.xml"/><Relationship Id="rId30" Type="http://schemas.openxmlformats.org/officeDocument/2006/relationships/tags" Target="../tags/tag1301.xml"/><Relationship Id="rId35" Type="http://schemas.openxmlformats.org/officeDocument/2006/relationships/tags" Target="../tags/tag1306.xml"/><Relationship Id="rId43" Type="http://schemas.openxmlformats.org/officeDocument/2006/relationships/tags" Target="../tags/tag1314.xml"/><Relationship Id="rId48" Type="http://schemas.openxmlformats.org/officeDocument/2006/relationships/tags" Target="../tags/tag1319.xml"/><Relationship Id="rId56" Type="http://schemas.openxmlformats.org/officeDocument/2006/relationships/tags" Target="../tags/tag1327.xml"/><Relationship Id="rId64" Type="http://schemas.openxmlformats.org/officeDocument/2006/relationships/chart" Target="../charts/chart46.xml"/><Relationship Id="rId8" Type="http://schemas.openxmlformats.org/officeDocument/2006/relationships/tags" Target="../tags/tag1279.xml"/><Relationship Id="rId51" Type="http://schemas.openxmlformats.org/officeDocument/2006/relationships/tags" Target="../tags/tag1322.xml"/><Relationship Id="rId3" Type="http://schemas.openxmlformats.org/officeDocument/2006/relationships/tags" Target="../tags/tag1274.xml"/><Relationship Id="rId12" Type="http://schemas.openxmlformats.org/officeDocument/2006/relationships/tags" Target="../tags/tag1283.xml"/><Relationship Id="rId17" Type="http://schemas.openxmlformats.org/officeDocument/2006/relationships/tags" Target="../tags/tag1288.xml"/><Relationship Id="rId25" Type="http://schemas.openxmlformats.org/officeDocument/2006/relationships/tags" Target="../tags/tag1296.xml"/><Relationship Id="rId33" Type="http://schemas.openxmlformats.org/officeDocument/2006/relationships/tags" Target="../tags/tag1304.xml"/><Relationship Id="rId38" Type="http://schemas.openxmlformats.org/officeDocument/2006/relationships/tags" Target="../tags/tag1309.xml"/><Relationship Id="rId46" Type="http://schemas.openxmlformats.org/officeDocument/2006/relationships/tags" Target="../tags/tag1317.xml"/><Relationship Id="rId59" Type="http://schemas.openxmlformats.org/officeDocument/2006/relationships/tags" Target="../tags/tag1330.xml"/><Relationship Id="rId20" Type="http://schemas.openxmlformats.org/officeDocument/2006/relationships/tags" Target="../tags/tag1291.xml"/><Relationship Id="rId41" Type="http://schemas.openxmlformats.org/officeDocument/2006/relationships/tags" Target="../tags/tag1312.xml"/><Relationship Id="rId54" Type="http://schemas.openxmlformats.org/officeDocument/2006/relationships/tags" Target="../tags/tag1325.xml"/><Relationship Id="rId62" Type="http://schemas.openxmlformats.org/officeDocument/2006/relationships/oleObject" Target="../embeddings/oleObject28.bin"/><Relationship Id="rId1" Type="http://schemas.openxmlformats.org/officeDocument/2006/relationships/tags" Target="../tags/tag1272.xml"/><Relationship Id="rId6" Type="http://schemas.openxmlformats.org/officeDocument/2006/relationships/tags" Target="../tags/tag1277.xml"/><Relationship Id="rId15" Type="http://schemas.openxmlformats.org/officeDocument/2006/relationships/tags" Target="../tags/tag1286.xml"/><Relationship Id="rId23" Type="http://schemas.openxmlformats.org/officeDocument/2006/relationships/tags" Target="../tags/tag1294.xml"/><Relationship Id="rId28" Type="http://schemas.openxmlformats.org/officeDocument/2006/relationships/tags" Target="../tags/tag1299.xml"/><Relationship Id="rId36" Type="http://schemas.openxmlformats.org/officeDocument/2006/relationships/tags" Target="../tags/tag1307.xml"/><Relationship Id="rId49" Type="http://schemas.openxmlformats.org/officeDocument/2006/relationships/tags" Target="../tags/tag1320.xml"/><Relationship Id="rId57" Type="http://schemas.openxmlformats.org/officeDocument/2006/relationships/tags" Target="../tags/tag1328.xml"/><Relationship Id="rId10" Type="http://schemas.openxmlformats.org/officeDocument/2006/relationships/tags" Target="../tags/tag1281.xml"/><Relationship Id="rId31" Type="http://schemas.openxmlformats.org/officeDocument/2006/relationships/tags" Target="../tags/tag1302.xml"/><Relationship Id="rId44" Type="http://schemas.openxmlformats.org/officeDocument/2006/relationships/tags" Target="../tags/tag1315.xml"/><Relationship Id="rId52" Type="http://schemas.openxmlformats.org/officeDocument/2006/relationships/tags" Target="../tags/tag1323.xml"/><Relationship Id="rId60" Type="http://schemas.openxmlformats.org/officeDocument/2006/relationships/tags" Target="../tags/tag1331.xml"/><Relationship Id="rId65" Type="http://schemas.openxmlformats.org/officeDocument/2006/relationships/chart" Target="../charts/chart47.xml"/><Relationship Id="rId4" Type="http://schemas.openxmlformats.org/officeDocument/2006/relationships/tags" Target="../tags/tag1275.xml"/><Relationship Id="rId9" Type="http://schemas.openxmlformats.org/officeDocument/2006/relationships/tags" Target="../tags/tag1280.xml"/><Relationship Id="rId13" Type="http://schemas.openxmlformats.org/officeDocument/2006/relationships/tags" Target="../tags/tag1284.xml"/><Relationship Id="rId18" Type="http://schemas.openxmlformats.org/officeDocument/2006/relationships/tags" Target="../tags/tag1289.xml"/><Relationship Id="rId39" Type="http://schemas.openxmlformats.org/officeDocument/2006/relationships/tags" Target="../tags/tag1310.xml"/></Relationships>
</file>

<file path=ppt/slides/_rels/slide29.xml.rels><?xml version="1.0" encoding="UTF-8" standalone="yes"?>
<Relationships xmlns="http://schemas.openxmlformats.org/package/2006/relationships"><Relationship Id="rId26" Type="http://schemas.openxmlformats.org/officeDocument/2006/relationships/tags" Target="../tags/tag1357.xml"/><Relationship Id="rId21" Type="http://schemas.openxmlformats.org/officeDocument/2006/relationships/tags" Target="../tags/tag1352.xml"/><Relationship Id="rId42" Type="http://schemas.openxmlformats.org/officeDocument/2006/relationships/tags" Target="../tags/tag1373.xml"/><Relationship Id="rId47" Type="http://schemas.openxmlformats.org/officeDocument/2006/relationships/tags" Target="../tags/tag1378.xml"/><Relationship Id="rId63" Type="http://schemas.openxmlformats.org/officeDocument/2006/relationships/tags" Target="../tags/tag1394.xml"/><Relationship Id="rId68" Type="http://schemas.openxmlformats.org/officeDocument/2006/relationships/tags" Target="../tags/tag1399.xml"/><Relationship Id="rId84" Type="http://schemas.openxmlformats.org/officeDocument/2006/relationships/tags" Target="../tags/tag1415.xml"/><Relationship Id="rId89" Type="http://schemas.openxmlformats.org/officeDocument/2006/relationships/tags" Target="../tags/tag1420.xml"/><Relationship Id="rId16" Type="http://schemas.openxmlformats.org/officeDocument/2006/relationships/tags" Target="../tags/tag1347.xml"/><Relationship Id="rId11" Type="http://schemas.openxmlformats.org/officeDocument/2006/relationships/tags" Target="../tags/tag1342.xml"/><Relationship Id="rId32" Type="http://schemas.openxmlformats.org/officeDocument/2006/relationships/tags" Target="../tags/tag1363.xml"/><Relationship Id="rId37" Type="http://schemas.openxmlformats.org/officeDocument/2006/relationships/tags" Target="../tags/tag1368.xml"/><Relationship Id="rId53" Type="http://schemas.openxmlformats.org/officeDocument/2006/relationships/tags" Target="../tags/tag1384.xml"/><Relationship Id="rId58" Type="http://schemas.openxmlformats.org/officeDocument/2006/relationships/tags" Target="../tags/tag1389.xml"/><Relationship Id="rId74" Type="http://schemas.openxmlformats.org/officeDocument/2006/relationships/tags" Target="../tags/tag1405.xml"/><Relationship Id="rId79" Type="http://schemas.openxmlformats.org/officeDocument/2006/relationships/tags" Target="../tags/tag1410.xml"/><Relationship Id="rId102" Type="http://schemas.openxmlformats.org/officeDocument/2006/relationships/chart" Target="../charts/chart48.xml"/><Relationship Id="rId5" Type="http://schemas.openxmlformats.org/officeDocument/2006/relationships/tags" Target="../tags/tag1336.xml"/><Relationship Id="rId90" Type="http://schemas.openxmlformats.org/officeDocument/2006/relationships/tags" Target="../tags/tag1421.xml"/><Relationship Id="rId95" Type="http://schemas.openxmlformats.org/officeDocument/2006/relationships/tags" Target="../tags/tag1426.xml"/><Relationship Id="rId22" Type="http://schemas.openxmlformats.org/officeDocument/2006/relationships/tags" Target="../tags/tag1353.xml"/><Relationship Id="rId27" Type="http://schemas.openxmlformats.org/officeDocument/2006/relationships/tags" Target="../tags/tag1358.xml"/><Relationship Id="rId43" Type="http://schemas.openxmlformats.org/officeDocument/2006/relationships/tags" Target="../tags/tag1374.xml"/><Relationship Id="rId48" Type="http://schemas.openxmlformats.org/officeDocument/2006/relationships/tags" Target="../tags/tag1379.xml"/><Relationship Id="rId64" Type="http://schemas.openxmlformats.org/officeDocument/2006/relationships/tags" Target="../tags/tag1395.xml"/><Relationship Id="rId69" Type="http://schemas.openxmlformats.org/officeDocument/2006/relationships/tags" Target="../tags/tag1400.xml"/><Relationship Id="rId80" Type="http://schemas.openxmlformats.org/officeDocument/2006/relationships/tags" Target="../tags/tag1411.xml"/><Relationship Id="rId85" Type="http://schemas.openxmlformats.org/officeDocument/2006/relationships/tags" Target="../tags/tag1416.xml"/><Relationship Id="rId12" Type="http://schemas.openxmlformats.org/officeDocument/2006/relationships/tags" Target="../tags/tag1343.xml"/><Relationship Id="rId17" Type="http://schemas.openxmlformats.org/officeDocument/2006/relationships/tags" Target="../tags/tag1348.xml"/><Relationship Id="rId25" Type="http://schemas.openxmlformats.org/officeDocument/2006/relationships/tags" Target="../tags/tag1356.xml"/><Relationship Id="rId33" Type="http://schemas.openxmlformats.org/officeDocument/2006/relationships/tags" Target="../tags/tag1364.xml"/><Relationship Id="rId38" Type="http://schemas.openxmlformats.org/officeDocument/2006/relationships/tags" Target="../tags/tag1369.xml"/><Relationship Id="rId46" Type="http://schemas.openxmlformats.org/officeDocument/2006/relationships/tags" Target="../tags/tag1377.xml"/><Relationship Id="rId59" Type="http://schemas.openxmlformats.org/officeDocument/2006/relationships/tags" Target="../tags/tag1390.xml"/><Relationship Id="rId67" Type="http://schemas.openxmlformats.org/officeDocument/2006/relationships/tags" Target="../tags/tag1398.xml"/><Relationship Id="rId103" Type="http://schemas.openxmlformats.org/officeDocument/2006/relationships/chart" Target="../charts/chart49.xml"/><Relationship Id="rId20" Type="http://schemas.openxmlformats.org/officeDocument/2006/relationships/tags" Target="../tags/tag1351.xml"/><Relationship Id="rId41" Type="http://schemas.openxmlformats.org/officeDocument/2006/relationships/tags" Target="../tags/tag1372.xml"/><Relationship Id="rId54" Type="http://schemas.openxmlformats.org/officeDocument/2006/relationships/tags" Target="../tags/tag1385.xml"/><Relationship Id="rId62" Type="http://schemas.openxmlformats.org/officeDocument/2006/relationships/tags" Target="../tags/tag1393.xml"/><Relationship Id="rId70" Type="http://schemas.openxmlformats.org/officeDocument/2006/relationships/tags" Target="../tags/tag1401.xml"/><Relationship Id="rId75" Type="http://schemas.openxmlformats.org/officeDocument/2006/relationships/tags" Target="../tags/tag1406.xml"/><Relationship Id="rId83" Type="http://schemas.openxmlformats.org/officeDocument/2006/relationships/tags" Target="../tags/tag1414.xml"/><Relationship Id="rId88" Type="http://schemas.openxmlformats.org/officeDocument/2006/relationships/tags" Target="../tags/tag1419.xml"/><Relationship Id="rId91" Type="http://schemas.openxmlformats.org/officeDocument/2006/relationships/tags" Target="../tags/tag1422.xml"/><Relationship Id="rId96" Type="http://schemas.openxmlformats.org/officeDocument/2006/relationships/tags" Target="../tags/tag1427.xml"/><Relationship Id="rId1" Type="http://schemas.openxmlformats.org/officeDocument/2006/relationships/tags" Target="../tags/tag1332.xml"/><Relationship Id="rId6" Type="http://schemas.openxmlformats.org/officeDocument/2006/relationships/tags" Target="../tags/tag1337.xml"/><Relationship Id="rId15" Type="http://schemas.openxmlformats.org/officeDocument/2006/relationships/tags" Target="../tags/tag1346.xml"/><Relationship Id="rId23" Type="http://schemas.openxmlformats.org/officeDocument/2006/relationships/tags" Target="../tags/tag1354.xml"/><Relationship Id="rId28" Type="http://schemas.openxmlformats.org/officeDocument/2006/relationships/tags" Target="../tags/tag1359.xml"/><Relationship Id="rId36" Type="http://schemas.openxmlformats.org/officeDocument/2006/relationships/tags" Target="../tags/tag1367.xml"/><Relationship Id="rId49" Type="http://schemas.openxmlformats.org/officeDocument/2006/relationships/tags" Target="../tags/tag1380.xml"/><Relationship Id="rId57" Type="http://schemas.openxmlformats.org/officeDocument/2006/relationships/tags" Target="../tags/tag1388.xml"/><Relationship Id="rId10" Type="http://schemas.openxmlformats.org/officeDocument/2006/relationships/tags" Target="../tags/tag1341.xml"/><Relationship Id="rId31" Type="http://schemas.openxmlformats.org/officeDocument/2006/relationships/tags" Target="../tags/tag1362.xml"/><Relationship Id="rId44" Type="http://schemas.openxmlformats.org/officeDocument/2006/relationships/tags" Target="../tags/tag1375.xml"/><Relationship Id="rId52" Type="http://schemas.openxmlformats.org/officeDocument/2006/relationships/tags" Target="../tags/tag1383.xml"/><Relationship Id="rId60" Type="http://schemas.openxmlformats.org/officeDocument/2006/relationships/tags" Target="../tags/tag1391.xml"/><Relationship Id="rId65" Type="http://schemas.openxmlformats.org/officeDocument/2006/relationships/tags" Target="../tags/tag1396.xml"/><Relationship Id="rId73" Type="http://schemas.openxmlformats.org/officeDocument/2006/relationships/tags" Target="../tags/tag1404.xml"/><Relationship Id="rId78" Type="http://schemas.openxmlformats.org/officeDocument/2006/relationships/tags" Target="../tags/tag1409.xml"/><Relationship Id="rId81" Type="http://schemas.openxmlformats.org/officeDocument/2006/relationships/tags" Target="../tags/tag1412.xml"/><Relationship Id="rId86" Type="http://schemas.openxmlformats.org/officeDocument/2006/relationships/tags" Target="../tags/tag1417.xml"/><Relationship Id="rId94" Type="http://schemas.openxmlformats.org/officeDocument/2006/relationships/tags" Target="../tags/tag1425.xml"/><Relationship Id="rId99" Type="http://schemas.openxmlformats.org/officeDocument/2006/relationships/slideLayout" Target="../slideLayouts/slideLayout15.xml"/><Relationship Id="rId101" Type="http://schemas.openxmlformats.org/officeDocument/2006/relationships/image" Target="../media/image12.emf"/><Relationship Id="rId4" Type="http://schemas.openxmlformats.org/officeDocument/2006/relationships/tags" Target="../tags/tag1335.xml"/><Relationship Id="rId9" Type="http://schemas.openxmlformats.org/officeDocument/2006/relationships/tags" Target="../tags/tag1340.xml"/><Relationship Id="rId13" Type="http://schemas.openxmlformats.org/officeDocument/2006/relationships/tags" Target="../tags/tag1344.xml"/><Relationship Id="rId18" Type="http://schemas.openxmlformats.org/officeDocument/2006/relationships/tags" Target="../tags/tag1349.xml"/><Relationship Id="rId39" Type="http://schemas.openxmlformats.org/officeDocument/2006/relationships/tags" Target="../tags/tag1370.xml"/><Relationship Id="rId34" Type="http://schemas.openxmlformats.org/officeDocument/2006/relationships/tags" Target="../tags/tag1365.xml"/><Relationship Id="rId50" Type="http://schemas.openxmlformats.org/officeDocument/2006/relationships/tags" Target="../tags/tag1381.xml"/><Relationship Id="rId55" Type="http://schemas.openxmlformats.org/officeDocument/2006/relationships/tags" Target="../tags/tag1386.xml"/><Relationship Id="rId76" Type="http://schemas.openxmlformats.org/officeDocument/2006/relationships/tags" Target="../tags/tag1407.xml"/><Relationship Id="rId97" Type="http://schemas.openxmlformats.org/officeDocument/2006/relationships/tags" Target="../tags/tag1428.xml"/><Relationship Id="rId7" Type="http://schemas.openxmlformats.org/officeDocument/2006/relationships/tags" Target="../tags/tag1338.xml"/><Relationship Id="rId71" Type="http://schemas.openxmlformats.org/officeDocument/2006/relationships/tags" Target="../tags/tag1402.xml"/><Relationship Id="rId92" Type="http://schemas.openxmlformats.org/officeDocument/2006/relationships/tags" Target="../tags/tag1423.xml"/><Relationship Id="rId2" Type="http://schemas.openxmlformats.org/officeDocument/2006/relationships/tags" Target="../tags/tag1333.xml"/><Relationship Id="rId29" Type="http://schemas.openxmlformats.org/officeDocument/2006/relationships/tags" Target="../tags/tag1360.xml"/><Relationship Id="rId24" Type="http://schemas.openxmlformats.org/officeDocument/2006/relationships/tags" Target="../tags/tag1355.xml"/><Relationship Id="rId40" Type="http://schemas.openxmlformats.org/officeDocument/2006/relationships/tags" Target="../tags/tag1371.xml"/><Relationship Id="rId45" Type="http://schemas.openxmlformats.org/officeDocument/2006/relationships/tags" Target="../tags/tag1376.xml"/><Relationship Id="rId66" Type="http://schemas.openxmlformats.org/officeDocument/2006/relationships/tags" Target="../tags/tag1397.xml"/><Relationship Id="rId87" Type="http://schemas.openxmlformats.org/officeDocument/2006/relationships/tags" Target="../tags/tag1418.xml"/><Relationship Id="rId61" Type="http://schemas.openxmlformats.org/officeDocument/2006/relationships/tags" Target="../tags/tag1392.xml"/><Relationship Id="rId82" Type="http://schemas.openxmlformats.org/officeDocument/2006/relationships/tags" Target="../tags/tag1413.xml"/><Relationship Id="rId19" Type="http://schemas.openxmlformats.org/officeDocument/2006/relationships/tags" Target="../tags/tag1350.xml"/><Relationship Id="rId14" Type="http://schemas.openxmlformats.org/officeDocument/2006/relationships/tags" Target="../tags/tag1345.xml"/><Relationship Id="rId30" Type="http://schemas.openxmlformats.org/officeDocument/2006/relationships/tags" Target="../tags/tag1361.xml"/><Relationship Id="rId35" Type="http://schemas.openxmlformats.org/officeDocument/2006/relationships/tags" Target="../tags/tag1366.xml"/><Relationship Id="rId56" Type="http://schemas.openxmlformats.org/officeDocument/2006/relationships/tags" Target="../tags/tag1387.xml"/><Relationship Id="rId77" Type="http://schemas.openxmlformats.org/officeDocument/2006/relationships/tags" Target="../tags/tag1408.xml"/><Relationship Id="rId100" Type="http://schemas.openxmlformats.org/officeDocument/2006/relationships/oleObject" Target="../embeddings/oleObject29.bin"/><Relationship Id="rId8" Type="http://schemas.openxmlformats.org/officeDocument/2006/relationships/tags" Target="../tags/tag1339.xml"/><Relationship Id="rId51" Type="http://schemas.openxmlformats.org/officeDocument/2006/relationships/tags" Target="../tags/tag1382.xml"/><Relationship Id="rId72" Type="http://schemas.openxmlformats.org/officeDocument/2006/relationships/tags" Target="../tags/tag1403.xml"/><Relationship Id="rId93" Type="http://schemas.openxmlformats.org/officeDocument/2006/relationships/tags" Target="../tags/tag1424.xml"/><Relationship Id="rId98" Type="http://schemas.openxmlformats.org/officeDocument/2006/relationships/tags" Target="../tags/tag1429.xml"/><Relationship Id="rId3" Type="http://schemas.openxmlformats.org/officeDocument/2006/relationships/tags" Target="../tags/tag133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17" Type="http://schemas.openxmlformats.org/officeDocument/2006/relationships/tags" Target="../tags/tag1546.xml"/><Relationship Id="rId21" Type="http://schemas.openxmlformats.org/officeDocument/2006/relationships/tags" Target="../tags/tag1450.xml"/><Relationship Id="rId42" Type="http://schemas.openxmlformats.org/officeDocument/2006/relationships/tags" Target="../tags/tag1471.xml"/><Relationship Id="rId63" Type="http://schemas.openxmlformats.org/officeDocument/2006/relationships/tags" Target="../tags/tag1492.xml"/><Relationship Id="rId84" Type="http://schemas.openxmlformats.org/officeDocument/2006/relationships/tags" Target="../tags/tag1513.xml"/><Relationship Id="rId16" Type="http://schemas.openxmlformats.org/officeDocument/2006/relationships/tags" Target="../tags/tag1445.xml"/><Relationship Id="rId107" Type="http://schemas.openxmlformats.org/officeDocument/2006/relationships/tags" Target="../tags/tag1536.xml"/><Relationship Id="rId11" Type="http://schemas.openxmlformats.org/officeDocument/2006/relationships/tags" Target="../tags/tag1440.xml"/><Relationship Id="rId32" Type="http://schemas.openxmlformats.org/officeDocument/2006/relationships/tags" Target="../tags/tag1461.xml"/><Relationship Id="rId37" Type="http://schemas.openxmlformats.org/officeDocument/2006/relationships/tags" Target="../tags/tag1466.xml"/><Relationship Id="rId53" Type="http://schemas.openxmlformats.org/officeDocument/2006/relationships/tags" Target="../tags/tag1482.xml"/><Relationship Id="rId58" Type="http://schemas.openxmlformats.org/officeDocument/2006/relationships/tags" Target="../tags/tag1487.xml"/><Relationship Id="rId74" Type="http://schemas.openxmlformats.org/officeDocument/2006/relationships/tags" Target="../tags/tag1503.xml"/><Relationship Id="rId79" Type="http://schemas.openxmlformats.org/officeDocument/2006/relationships/tags" Target="../tags/tag1508.xml"/><Relationship Id="rId102" Type="http://schemas.openxmlformats.org/officeDocument/2006/relationships/tags" Target="../tags/tag1531.xml"/><Relationship Id="rId123" Type="http://schemas.openxmlformats.org/officeDocument/2006/relationships/tags" Target="../tags/tag1552.xml"/><Relationship Id="rId128" Type="http://schemas.openxmlformats.org/officeDocument/2006/relationships/tags" Target="../tags/tag1557.xml"/><Relationship Id="rId5" Type="http://schemas.openxmlformats.org/officeDocument/2006/relationships/tags" Target="../tags/tag1434.xml"/><Relationship Id="rId90" Type="http://schemas.openxmlformats.org/officeDocument/2006/relationships/tags" Target="../tags/tag1519.xml"/><Relationship Id="rId95" Type="http://schemas.openxmlformats.org/officeDocument/2006/relationships/tags" Target="../tags/tag1524.xml"/><Relationship Id="rId22" Type="http://schemas.openxmlformats.org/officeDocument/2006/relationships/tags" Target="../tags/tag1451.xml"/><Relationship Id="rId27" Type="http://schemas.openxmlformats.org/officeDocument/2006/relationships/tags" Target="../tags/tag1456.xml"/><Relationship Id="rId43" Type="http://schemas.openxmlformats.org/officeDocument/2006/relationships/tags" Target="../tags/tag1472.xml"/><Relationship Id="rId48" Type="http://schemas.openxmlformats.org/officeDocument/2006/relationships/tags" Target="../tags/tag1477.xml"/><Relationship Id="rId64" Type="http://schemas.openxmlformats.org/officeDocument/2006/relationships/tags" Target="../tags/tag1493.xml"/><Relationship Id="rId69" Type="http://schemas.openxmlformats.org/officeDocument/2006/relationships/tags" Target="../tags/tag1498.xml"/><Relationship Id="rId113" Type="http://schemas.openxmlformats.org/officeDocument/2006/relationships/tags" Target="../tags/tag1542.xml"/><Relationship Id="rId118" Type="http://schemas.openxmlformats.org/officeDocument/2006/relationships/tags" Target="../tags/tag1547.xml"/><Relationship Id="rId134" Type="http://schemas.openxmlformats.org/officeDocument/2006/relationships/image" Target="../media/image12.emf"/><Relationship Id="rId80" Type="http://schemas.openxmlformats.org/officeDocument/2006/relationships/tags" Target="../tags/tag1509.xml"/><Relationship Id="rId85" Type="http://schemas.openxmlformats.org/officeDocument/2006/relationships/tags" Target="../tags/tag1514.xml"/><Relationship Id="rId12" Type="http://schemas.openxmlformats.org/officeDocument/2006/relationships/tags" Target="../tags/tag1441.xml"/><Relationship Id="rId17" Type="http://schemas.openxmlformats.org/officeDocument/2006/relationships/tags" Target="../tags/tag1446.xml"/><Relationship Id="rId33" Type="http://schemas.openxmlformats.org/officeDocument/2006/relationships/tags" Target="../tags/tag1462.xml"/><Relationship Id="rId38" Type="http://schemas.openxmlformats.org/officeDocument/2006/relationships/tags" Target="../tags/tag1467.xml"/><Relationship Id="rId59" Type="http://schemas.openxmlformats.org/officeDocument/2006/relationships/tags" Target="../tags/tag1488.xml"/><Relationship Id="rId103" Type="http://schemas.openxmlformats.org/officeDocument/2006/relationships/tags" Target="../tags/tag1532.xml"/><Relationship Id="rId108" Type="http://schemas.openxmlformats.org/officeDocument/2006/relationships/tags" Target="../tags/tag1537.xml"/><Relationship Id="rId124" Type="http://schemas.openxmlformats.org/officeDocument/2006/relationships/tags" Target="../tags/tag1553.xml"/><Relationship Id="rId129" Type="http://schemas.openxmlformats.org/officeDocument/2006/relationships/tags" Target="../tags/tag1558.xml"/><Relationship Id="rId54" Type="http://schemas.openxmlformats.org/officeDocument/2006/relationships/tags" Target="../tags/tag1483.xml"/><Relationship Id="rId70" Type="http://schemas.openxmlformats.org/officeDocument/2006/relationships/tags" Target="../tags/tag1499.xml"/><Relationship Id="rId75" Type="http://schemas.openxmlformats.org/officeDocument/2006/relationships/tags" Target="../tags/tag1504.xml"/><Relationship Id="rId91" Type="http://schemas.openxmlformats.org/officeDocument/2006/relationships/tags" Target="../tags/tag1520.xml"/><Relationship Id="rId96" Type="http://schemas.openxmlformats.org/officeDocument/2006/relationships/tags" Target="../tags/tag1525.xml"/><Relationship Id="rId1" Type="http://schemas.openxmlformats.org/officeDocument/2006/relationships/tags" Target="../tags/tag1430.xml"/><Relationship Id="rId6" Type="http://schemas.openxmlformats.org/officeDocument/2006/relationships/tags" Target="../tags/tag1435.xml"/><Relationship Id="rId23" Type="http://schemas.openxmlformats.org/officeDocument/2006/relationships/tags" Target="../tags/tag1452.xml"/><Relationship Id="rId28" Type="http://schemas.openxmlformats.org/officeDocument/2006/relationships/tags" Target="../tags/tag1457.xml"/><Relationship Id="rId49" Type="http://schemas.openxmlformats.org/officeDocument/2006/relationships/tags" Target="../tags/tag1478.xml"/><Relationship Id="rId114" Type="http://schemas.openxmlformats.org/officeDocument/2006/relationships/tags" Target="../tags/tag1543.xml"/><Relationship Id="rId119" Type="http://schemas.openxmlformats.org/officeDocument/2006/relationships/tags" Target="../tags/tag1548.xml"/><Relationship Id="rId44" Type="http://schemas.openxmlformats.org/officeDocument/2006/relationships/tags" Target="../tags/tag1473.xml"/><Relationship Id="rId60" Type="http://schemas.openxmlformats.org/officeDocument/2006/relationships/tags" Target="../tags/tag1489.xml"/><Relationship Id="rId65" Type="http://schemas.openxmlformats.org/officeDocument/2006/relationships/tags" Target="../tags/tag1494.xml"/><Relationship Id="rId81" Type="http://schemas.openxmlformats.org/officeDocument/2006/relationships/tags" Target="../tags/tag1510.xml"/><Relationship Id="rId86" Type="http://schemas.openxmlformats.org/officeDocument/2006/relationships/tags" Target="../tags/tag1515.xml"/><Relationship Id="rId130" Type="http://schemas.openxmlformats.org/officeDocument/2006/relationships/tags" Target="../tags/tag1559.xml"/><Relationship Id="rId135" Type="http://schemas.openxmlformats.org/officeDocument/2006/relationships/chart" Target="../charts/chart50.xml"/><Relationship Id="rId13" Type="http://schemas.openxmlformats.org/officeDocument/2006/relationships/tags" Target="../tags/tag1442.xml"/><Relationship Id="rId18" Type="http://schemas.openxmlformats.org/officeDocument/2006/relationships/tags" Target="../tags/tag1447.xml"/><Relationship Id="rId39" Type="http://schemas.openxmlformats.org/officeDocument/2006/relationships/tags" Target="../tags/tag1468.xml"/><Relationship Id="rId109" Type="http://schemas.openxmlformats.org/officeDocument/2006/relationships/tags" Target="../tags/tag1538.xml"/><Relationship Id="rId34" Type="http://schemas.openxmlformats.org/officeDocument/2006/relationships/tags" Target="../tags/tag1463.xml"/><Relationship Id="rId50" Type="http://schemas.openxmlformats.org/officeDocument/2006/relationships/tags" Target="../tags/tag1479.xml"/><Relationship Id="rId55" Type="http://schemas.openxmlformats.org/officeDocument/2006/relationships/tags" Target="../tags/tag1484.xml"/><Relationship Id="rId76" Type="http://schemas.openxmlformats.org/officeDocument/2006/relationships/tags" Target="../tags/tag1505.xml"/><Relationship Id="rId97" Type="http://schemas.openxmlformats.org/officeDocument/2006/relationships/tags" Target="../tags/tag1526.xml"/><Relationship Id="rId104" Type="http://schemas.openxmlformats.org/officeDocument/2006/relationships/tags" Target="../tags/tag1533.xml"/><Relationship Id="rId120" Type="http://schemas.openxmlformats.org/officeDocument/2006/relationships/tags" Target="../tags/tag1549.xml"/><Relationship Id="rId125" Type="http://schemas.openxmlformats.org/officeDocument/2006/relationships/tags" Target="../tags/tag1554.xml"/><Relationship Id="rId7" Type="http://schemas.openxmlformats.org/officeDocument/2006/relationships/tags" Target="../tags/tag1436.xml"/><Relationship Id="rId71" Type="http://schemas.openxmlformats.org/officeDocument/2006/relationships/tags" Target="../tags/tag1500.xml"/><Relationship Id="rId92" Type="http://schemas.openxmlformats.org/officeDocument/2006/relationships/tags" Target="../tags/tag1521.xml"/><Relationship Id="rId2" Type="http://schemas.openxmlformats.org/officeDocument/2006/relationships/tags" Target="../tags/tag1431.xml"/><Relationship Id="rId29" Type="http://schemas.openxmlformats.org/officeDocument/2006/relationships/tags" Target="../tags/tag1458.xml"/><Relationship Id="rId24" Type="http://schemas.openxmlformats.org/officeDocument/2006/relationships/tags" Target="../tags/tag1453.xml"/><Relationship Id="rId40" Type="http://schemas.openxmlformats.org/officeDocument/2006/relationships/tags" Target="../tags/tag1469.xml"/><Relationship Id="rId45" Type="http://schemas.openxmlformats.org/officeDocument/2006/relationships/tags" Target="../tags/tag1474.xml"/><Relationship Id="rId66" Type="http://schemas.openxmlformats.org/officeDocument/2006/relationships/tags" Target="../tags/tag1495.xml"/><Relationship Id="rId87" Type="http://schemas.openxmlformats.org/officeDocument/2006/relationships/tags" Target="../tags/tag1516.xml"/><Relationship Id="rId110" Type="http://schemas.openxmlformats.org/officeDocument/2006/relationships/tags" Target="../tags/tag1539.xml"/><Relationship Id="rId115" Type="http://schemas.openxmlformats.org/officeDocument/2006/relationships/tags" Target="../tags/tag1544.xml"/><Relationship Id="rId131" Type="http://schemas.openxmlformats.org/officeDocument/2006/relationships/tags" Target="../tags/tag1560.xml"/><Relationship Id="rId136" Type="http://schemas.openxmlformats.org/officeDocument/2006/relationships/chart" Target="../charts/chart51.xml"/><Relationship Id="rId61" Type="http://schemas.openxmlformats.org/officeDocument/2006/relationships/tags" Target="../tags/tag1490.xml"/><Relationship Id="rId82" Type="http://schemas.openxmlformats.org/officeDocument/2006/relationships/tags" Target="../tags/tag1511.xml"/><Relationship Id="rId19" Type="http://schemas.openxmlformats.org/officeDocument/2006/relationships/tags" Target="../tags/tag1448.xml"/><Relationship Id="rId14" Type="http://schemas.openxmlformats.org/officeDocument/2006/relationships/tags" Target="../tags/tag1443.xml"/><Relationship Id="rId30" Type="http://schemas.openxmlformats.org/officeDocument/2006/relationships/tags" Target="../tags/tag1459.xml"/><Relationship Id="rId35" Type="http://schemas.openxmlformats.org/officeDocument/2006/relationships/tags" Target="../tags/tag1464.xml"/><Relationship Id="rId56" Type="http://schemas.openxmlformats.org/officeDocument/2006/relationships/tags" Target="../tags/tag1485.xml"/><Relationship Id="rId77" Type="http://schemas.openxmlformats.org/officeDocument/2006/relationships/tags" Target="../tags/tag1506.xml"/><Relationship Id="rId100" Type="http://schemas.openxmlformats.org/officeDocument/2006/relationships/tags" Target="../tags/tag1529.xml"/><Relationship Id="rId105" Type="http://schemas.openxmlformats.org/officeDocument/2006/relationships/tags" Target="../tags/tag1534.xml"/><Relationship Id="rId126" Type="http://schemas.openxmlformats.org/officeDocument/2006/relationships/tags" Target="../tags/tag1555.xml"/><Relationship Id="rId8" Type="http://schemas.openxmlformats.org/officeDocument/2006/relationships/tags" Target="../tags/tag1437.xml"/><Relationship Id="rId51" Type="http://schemas.openxmlformats.org/officeDocument/2006/relationships/tags" Target="../tags/tag1480.xml"/><Relationship Id="rId72" Type="http://schemas.openxmlformats.org/officeDocument/2006/relationships/tags" Target="../tags/tag1501.xml"/><Relationship Id="rId93" Type="http://schemas.openxmlformats.org/officeDocument/2006/relationships/tags" Target="../tags/tag1522.xml"/><Relationship Id="rId98" Type="http://schemas.openxmlformats.org/officeDocument/2006/relationships/tags" Target="../tags/tag1527.xml"/><Relationship Id="rId121" Type="http://schemas.openxmlformats.org/officeDocument/2006/relationships/tags" Target="../tags/tag1550.xml"/><Relationship Id="rId3" Type="http://schemas.openxmlformats.org/officeDocument/2006/relationships/tags" Target="../tags/tag1432.xml"/><Relationship Id="rId25" Type="http://schemas.openxmlformats.org/officeDocument/2006/relationships/tags" Target="../tags/tag1454.xml"/><Relationship Id="rId46" Type="http://schemas.openxmlformats.org/officeDocument/2006/relationships/tags" Target="../tags/tag1475.xml"/><Relationship Id="rId67" Type="http://schemas.openxmlformats.org/officeDocument/2006/relationships/tags" Target="../tags/tag1496.xml"/><Relationship Id="rId116" Type="http://schemas.openxmlformats.org/officeDocument/2006/relationships/tags" Target="../tags/tag1545.xml"/><Relationship Id="rId137" Type="http://schemas.openxmlformats.org/officeDocument/2006/relationships/chart" Target="../charts/chart52.xml"/><Relationship Id="rId20" Type="http://schemas.openxmlformats.org/officeDocument/2006/relationships/tags" Target="../tags/tag1449.xml"/><Relationship Id="rId41" Type="http://schemas.openxmlformats.org/officeDocument/2006/relationships/tags" Target="../tags/tag1470.xml"/><Relationship Id="rId62" Type="http://schemas.openxmlformats.org/officeDocument/2006/relationships/tags" Target="../tags/tag1491.xml"/><Relationship Id="rId83" Type="http://schemas.openxmlformats.org/officeDocument/2006/relationships/tags" Target="../tags/tag1512.xml"/><Relationship Id="rId88" Type="http://schemas.openxmlformats.org/officeDocument/2006/relationships/tags" Target="../tags/tag1517.xml"/><Relationship Id="rId111" Type="http://schemas.openxmlformats.org/officeDocument/2006/relationships/tags" Target="../tags/tag1540.xml"/><Relationship Id="rId132" Type="http://schemas.openxmlformats.org/officeDocument/2006/relationships/slideLayout" Target="../slideLayouts/slideLayout15.xml"/><Relationship Id="rId15" Type="http://schemas.openxmlformats.org/officeDocument/2006/relationships/tags" Target="../tags/tag1444.xml"/><Relationship Id="rId36" Type="http://schemas.openxmlformats.org/officeDocument/2006/relationships/tags" Target="../tags/tag1465.xml"/><Relationship Id="rId57" Type="http://schemas.openxmlformats.org/officeDocument/2006/relationships/tags" Target="../tags/tag1486.xml"/><Relationship Id="rId106" Type="http://schemas.openxmlformats.org/officeDocument/2006/relationships/tags" Target="../tags/tag1535.xml"/><Relationship Id="rId127" Type="http://schemas.openxmlformats.org/officeDocument/2006/relationships/tags" Target="../tags/tag1556.xml"/><Relationship Id="rId10" Type="http://schemas.openxmlformats.org/officeDocument/2006/relationships/tags" Target="../tags/tag1439.xml"/><Relationship Id="rId31" Type="http://schemas.openxmlformats.org/officeDocument/2006/relationships/tags" Target="../tags/tag1460.xml"/><Relationship Id="rId52" Type="http://schemas.openxmlformats.org/officeDocument/2006/relationships/tags" Target="../tags/tag1481.xml"/><Relationship Id="rId73" Type="http://schemas.openxmlformats.org/officeDocument/2006/relationships/tags" Target="../tags/tag1502.xml"/><Relationship Id="rId78" Type="http://schemas.openxmlformats.org/officeDocument/2006/relationships/tags" Target="../tags/tag1507.xml"/><Relationship Id="rId94" Type="http://schemas.openxmlformats.org/officeDocument/2006/relationships/tags" Target="../tags/tag1523.xml"/><Relationship Id="rId99" Type="http://schemas.openxmlformats.org/officeDocument/2006/relationships/tags" Target="../tags/tag1528.xml"/><Relationship Id="rId101" Type="http://schemas.openxmlformats.org/officeDocument/2006/relationships/tags" Target="../tags/tag1530.xml"/><Relationship Id="rId122" Type="http://schemas.openxmlformats.org/officeDocument/2006/relationships/tags" Target="../tags/tag1551.xml"/><Relationship Id="rId4" Type="http://schemas.openxmlformats.org/officeDocument/2006/relationships/tags" Target="../tags/tag1433.xml"/><Relationship Id="rId9" Type="http://schemas.openxmlformats.org/officeDocument/2006/relationships/tags" Target="../tags/tag1438.xml"/><Relationship Id="rId26" Type="http://schemas.openxmlformats.org/officeDocument/2006/relationships/tags" Target="../tags/tag1455.xml"/><Relationship Id="rId47" Type="http://schemas.openxmlformats.org/officeDocument/2006/relationships/tags" Target="../tags/tag1476.xml"/><Relationship Id="rId68" Type="http://schemas.openxmlformats.org/officeDocument/2006/relationships/tags" Target="../tags/tag1497.xml"/><Relationship Id="rId89" Type="http://schemas.openxmlformats.org/officeDocument/2006/relationships/tags" Target="../tags/tag1518.xml"/><Relationship Id="rId112" Type="http://schemas.openxmlformats.org/officeDocument/2006/relationships/tags" Target="../tags/tag1541.xml"/><Relationship Id="rId133" Type="http://schemas.openxmlformats.org/officeDocument/2006/relationships/oleObject" Target="../embeddings/oleObject30.bin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tags" Target="../tags/tag38.xml"/><Relationship Id="rId39" Type="http://schemas.openxmlformats.org/officeDocument/2006/relationships/tags" Target="../tags/tag51.xml"/><Relationship Id="rId21" Type="http://schemas.openxmlformats.org/officeDocument/2006/relationships/tags" Target="../tags/tag33.xml"/><Relationship Id="rId34" Type="http://schemas.openxmlformats.org/officeDocument/2006/relationships/tags" Target="../tags/tag46.xml"/><Relationship Id="rId42" Type="http://schemas.openxmlformats.org/officeDocument/2006/relationships/tags" Target="../tags/tag54.xml"/><Relationship Id="rId47" Type="http://schemas.openxmlformats.org/officeDocument/2006/relationships/tags" Target="../tags/tag59.xml"/><Relationship Id="rId50" Type="http://schemas.openxmlformats.org/officeDocument/2006/relationships/tags" Target="../tags/tag62.xml"/><Relationship Id="rId55" Type="http://schemas.openxmlformats.org/officeDocument/2006/relationships/image" Target="../media/image11.emf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6" Type="http://schemas.openxmlformats.org/officeDocument/2006/relationships/tags" Target="../tags/tag28.xml"/><Relationship Id="rId29" Type="http://schemas.openxmlformats.org/officeDocument/2006/relationships/tags" Target="../tags/tag41.xml"/><Relationship Id="rId11" Type="http://schemas.openxmlformats.org/officeDocument/2006/relationships/tags" Target="../tags/tag23.xml"/><Relationship Id="rId24" Type="http://schemas.openxmlformats.org/officeDocument/2006/relationships/tags" Target="../tags/tag36.xml"/><Relationship Id="rId32" Type="http://schemas.openxmlformats.org/officeDocument/2006/relationships/tags" Target="../tags/tag44.xml"/><Relationship Id="rId37" Type="http://schemas.openxmlformats.org/officeDocument/2006/relationships/tags" Target="../tags/tag49.xml"/><Relationship Id="rId40" Type="http://schemas.openxmlformats.org/officeDocument/2006/relationships/tags" Target="../tags/tag52.xml"/><Relationship Id="rId45" Type="http://schemas.openxmlformats.org/officeDocument/2006/relationships/tags" Target="../tags/tag57.xml"/><Relationship Id="rId53" Type="http://schemas.openxmlformats.org/officeDocument/2006/relationships/slideLayout" Target="../slideLayouts/slideLayout40.xml"/><Relationship Id="rId58" Type="http://schemas.openxmlformats.org/officeDocument/2006/relationships/chart" Target="../charts/chart3.xml"/><Relationship Id="rId5" Type="http://schemas.openxmlformats.org/officeDocument/2006/relationships/tags" Target="../tags/tag17.xml"/><Relationship Id="rId61" Type="http://schemas.openxmlformats.org/officeDocument/2006/relationships/chart" Target="../charts/chart6.xml"/><Relationship Id="rId19" Type="http://schemas.openxmlformats.org/officeDocument/2006/relationships/tags" Target="../tags/tag3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tags" Target="../tags/tag39.xml"/><Relationship Id="rId30" Type="http://schemas.openxmlformats.org/officeDocument/2006/relationships/tags" Target="../tags/tag42.xml"/><Relationship Id="rId35" Type="http://schemas.openxmlformats.org/officeDocument/2006/relationships/tags" Target="../tags/tag47.xml"/><Relationship Id="rId43" Type="http://schemas.openxmlformats.org/officeDocument/2006/relationships/tags" Target="../tags/tag55.xml"/><Relationship Id="rId48" Type="http://schemas.openxmlformats.org/officeDocument/2006/relationships/tags" Target="../tags/tag60.xml"/><Relationship Id="rId56" Type="http://schemas.openxmlformats.org/officeDocument/2006/relationships/chart" Target="../charts/chart1.xml"/><Relationship Id="rId8" Type="http://schemas.openxmlformats.org/officeDocument/2006/relationships/tags" Target="../tags/tag20.xml"/><Relationship Id="rId51" Type="http://schemas.openxmlformats.org/officeDocument/2006/relationships/tags" Target="../tags/tag63.xml"/><Relationship Id="rId3" Type="http://schemas.openxmlformats.org/officeDocument/2006/relationships/tags" Target="../tags/tag15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tags" Target="../tags/tag37.xml"/><Relationship Id="rId33" Type="http://schemas.openxmlformats.org/officeDocument/2006/relationships/tags" Target="../tags/tag45.xml"/><Relationship Id="rId38" Type="http://schemas.openxmlformats.org/officeDocument/2006/relationships/tags" Target="../tags/tag50.xml"/><Relationship Id="rId46" Type="http://schemas.openxmlformats.org/officeDocument/2006/relationships/tags" Target="../tags/tag58.xml"/><Relationship Id="rId59" Type="http://schemas.openxmlformats.org/officeDocument/2006/relationships/chart" Target="../charts/chart4.xml"/><Relationship Id="rId20" Type="http://schemas.openxmlformats.org/officeDocument/2006/relationships/tags" Target="../tags/tag32.xml"/><Relationship Id="rId41" Type="http://schemas.openxmlformats.org/officeDocument/2006/relationships/tags" Target="../tags/tag53.xml"/><Relationship Id="rId54" Type="http://schemas.openxmlformats.org/officeDocument/2006/relationships/oleObject" Target="../embeddings/oleObject7.bin"/><Relationship Id="rId62" Type="http://schemas.openxmlformats.org/officeDocument/2006/relationships/chart" Target="../charts/chart7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5" Type="http://schemas.openxmlformats.org/officeDocument/2006/relationships/tags" Target="../tags/tag27.xml"/><Relationship Id="rId23" Type="http://schemas.openxmlformats.org/officeDocument/2006/relationships/tags" Target="../tags/tag35.xml"/><Relationship Id="rId28" Type="http://schemas.openxmlformats.org/officeDocument/2006/relationships/tags" Target="../tags/tag40.xml"/><Relationship Id="rId36" Type="http://schemas.openxmlformats.org/officeDocument/2006/relationships/tags" Target="../tags/tag48.xml"/><Relationship Id="rId49" Type="http://schemas.openxmlformats.org/officeDocument/2006/relationships/tags" Target="../tags/tag61.xml"/><Relationship Id="rId57" Type="http://schemas.openxmlformats.org/officeDocument/2006/relationships/chart" Target="../charts/chart2.xml"/><Relationship Id="rId10" Type="http://schemas.openxmlformats.org/officeDocument/2006/relationships/tags" Target="../tags/tag22.xml"/><Relationship Id="rId31" Type="http://schemas.openxmlformats.org/officeDocument/2006/relationships/tags" Target="../tags/tag43.xml"/><Relationship Id="rId44" Type="http://schemas.openxmlformats.org/officeDocument/2006/relationships/tags" Target="../tags/tag56.xml"/><Relationship Id="rId52" Type="http://schemas.openxmlformats.org/officeDocument/2006/relationships/tags" Target="../tags/tag64.xml"/><Relationship Id="rId60" Type="http://schemas.openxmlformats.org/officeDocument/2006/relationships/chart" Target="../charts/chart5.xml"/><Relationship Id="rId4" Type="http://schemas.openxmlformats.org/officeDocument/2006/relationships/tags" Target="../tags/tag16.xml"/><Relationship Id="rId9" Type="http://schemas.openxmlformats.org/officeDocument/2006/relationships/tags" Target="../tags/tag2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17" Type="http://schemas.openxmlformats.org/officeDocument/2006/relationships/tags" Target="../tags/tag181.xml"/><Relationship Id="rId21" Type="http://schemas.openxmlformats.org/officeDocument/2006/relationships/tags" Target="../tags/tag85.xml"/><Relationship Id="rId42" Type="http://schemas.openxmlformats.org/officeDocument/2006/relationships/tags" Target="../tags/tag106.xml"/><Relationship Id="rId63" Type="http://schemas.openxmlformats.org/officeDocument/2006/relationships/tags" Target="../tags/tag127.xml"/><Relationship Id="rId84" Type="http://schemas.openxmlformats.org/officeDocument/2006/relationships/tags" Target="../tags/tag148.xml"/><Relationship Id="rId138" Type="http://schemas.openxmlformats.org/officeDocument/2006/relationships/chart" Target="../charts/chart12.xml"/><Relationship Id="rId16" Type="http://schemas.openxmlformats.org/officeDocument/2006/relationships/tags" Target="../tags/tag80.xml"/><Relationship Id="rId107" Type="http://schemas.openxmlformats.org/officeDocument/2006/relationships/tags" Target="../tags/tag171.xml"/><Relationship Id="rId11" Type="http://schemas.openxmlformats.org/officeDocument/2006/relationships/tags" Target="../tags/tag75.xml"/><Relationship Id="rId32" Type="http://schemas.openxmlformats.org/officeDocument/2006/relationships/tags" Target="../tags/tag96.xml"/><Relationship Id="rId37" Type="http://schemas.openxmlformats.org/officeDocument/2006/relationships/tags" Target="../tags/tag101.xml"/><Relationship Id="rId53" Type="http://schemas.openxmlformats.org/officeDocument/2006/relationships/tags" Target="../tags/tag117.xml"/><Relationship Id="rId58" Type="http://schemas.openxmlformats.org/officeDocument/2006/relationships/tags" Target="../tags/tag122.xml"/><Relationship Id="rId74" Type="http://schemas.openxmlformats.org/officeDocument/2006/relationships/tags" Target="../tags/tag138.xml"/><Relationship Id="rId79" Type="http://schemas.openxmlformats.org/officeDocument/2006/relationships/tags" Target="../tags/tag143.xml"/><Relationship Id="rId102" Type="http://schemas.openxmlformats.org/officeDocument/2006/relationships/tags" Target="../tags/tag166.xml"/><Relationship Id="rId123" Type="http://schemas.openxmlformats.org/officeDocument/2006/relationships/tags" Target="../tags/tag187.xml"/><Relationship Id="rId128" Type="http://schemas.openxmlformats.org/officeDocument/2006/relationships/tags" Target="../tags/tag192.xml"/><Relationship Id="rId5" Type="http://schemas.openxmlformats.org/officeDocument/2006/relationships/tags" Target="../tags/tag69.xml"/><Relationship Id="rId90" Type="http://schemas.openxmlformats.org/officeDocument/2006/relationships/tags" Target="../tags/tag154.xml"/><Relationship Id="rId95" Type="http://schemas.openxmlformats.org/officeDocument/2006/relationships/tags" Target="../tags/tag159.xml"/><Relationship Id="rId22" Type="http://schemas.openxmlformats.org/officeDocument/2006/relationships/tags" Target="../tags/tag86.xml"/><Relationship Id="rId27" Type="http://schemas.openxmlformats.org/officeDocument/2006/relationships/tags" Target="../tags/tag91.xml"/><Relationship Id="rId43" Type="http://schemas.openxmlformats.org/officeDocument/2006/relationships/tags" Target="../tags/tag107.xml"/><Relationship Id="rId48" Type="http://schemas.openxmlformats.org/officeDocument/2006/relationships/tags" Target="../tags/tag112.xml"/><Relationship Id="rId64" Type="http://schemas.openxmlformats.org/officeDocument/2006/relationships/tags" Target="../tags/tag128.xml"/><Relationship Id="rId69" Type="http://schemas.openxmlformats.org/officeDocument/2006/relationships/tags" Target="../tags/tag133.xml"/><Relationship Id="rId113" Type="http://schemas.openxmlformats.org/officeDocument/2006/relationships/tags" Target="../tags/tag177.xml"/><Relationship Id="rId118" Type="http://schemas.openxmlformats.org/officeDocument/2006/relationships/tags" Target="../tags/tag182.xml"/><Relationship Id="rId134" Type="http://schemas.openxmlformats.org/officeDocument/2006/relationships/chart" Target="../charts/chart8.xml"/><Relationship Id="rId139" Type="http://schemas.openxmlformats.org/officeDocument/2006/relationships/chart" Target="../charts/chart13.xml"/><Relationship Id="rId80" Type="http://schemas.openxmlformats.org/officeDocument/2006/relationships/tags" Target="../tags/tag144.xml"/><Relationship Id="rId85" Type="http://schemas.openxmlformats.org/officeDocument/2006/relationships/tags" Target="../tags/tag149.xml"/><Relationship Id="rId12" Type="http://schemas.openxmlformats.org/officeDocument/2006/relationships/tags" Target="../tags/tag76.xml"/><Relationship Id="rId17" Type="http://schemas.openxmlformats.org/officeDocument/2006/relationships/tags" Target="../tags/tag81.xml"/><Relationship Id="rId33" Type="http://schemas.openxmlformats.org/officeDocument/2006/relationships/tags" Target="../tags/tag97.xml"/><Relationship Id="rId38" Type="http://schemas.openxmlformats.org/officeDocument/2006/relationships/tags" Target="../tags/tag102.xml"/><Relationship Id="rId59" Type="http://schemas.openxmlformats.org/officeDocument/2006/relationships/tags" Target="../tags/tag123.xml"/><Relationship Id="rId103" Type="http://schemas.openxmlformats.org/officeDocument/2006/relationships/tags" Target="../tags/tag167.xml"/><Relationship Id="rId108" Type="http://schemas.openxmlformats.org/officeDocument/2006/relationships/tags" Target="../tags/tag172.xml"/><Relationship Id="rId124" Type="http://schemas.openxmlformats.org/officeDocument/2006/relationships/tags" Target="../tags/tag188.xml"/><Relationship Id="rId129" Type="http://schemas.openxmlformats.org/officeDocument/2006/relationships/tags" Target="../tags/tag193.xml"/><Relationship Id="rId54" Type="http://schemas.openxmlformats.org/officeDocument/2006/relationships/tags" Target="../tags/tag118.xml"/><Relationship Id="rId70" Type="http://schemas.openxmlformats.org/officeDocument/2006/relationships/tags" Target="../tags/tag134.xml"/><Relationship Id="rId75" Type="http://schemas.openxmlformats.org/officeDocument/2006/relationships/tags" Target="../tags/tag139.xml"/><Relationship Id="rId91" Type="http://schemas.openxmlformats.org/officeDocument/2006/relationships/tags" Target="../tags/tag155.xml"/><Relationship Id="rId96" Type="http://schemas.openxmlformats.org/officeDocument/2006/relationships/tags" Target="../tags/tag160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23" Type="http://schemas.openxmlformats.org/officeDocument/2006/relationships/tags" Target="../tags/tag87.xml"/><Relationship Id="rId28" Type="http://schemas.openxmlformats.org/officeDocument/2006/relationships/tags" Target="../tags/tag92.xml"/><Relationship Id="rId49" Type="http://schemas.openxmlformats.org/officeDocument/2006/relationships/tags" Target="../tags/tag113.xml"/><Relationship Id="rId114" Type="http://schemas.openxmlformats.org/officeDocument/2006/relationships/tags" Target="../tags/tag178.xml"/><Relationship Id="rId119" Type="http://schemas.openxmlformats.org/officeDocument/2006/relationships/tags" Target="../tags/tag183.xml"/><Relationship Id="rId44" Type="http://schemas.openxmlformats.org/officeDocument/2006/relationships/tags" Target="../tags/tag108.xml"/><Relationship Id="rId60" Type="http://schemas.openxmlformats.org/officeDocument/2006/relationships/tags" Target="../tags/tag124.xml"/><Relationship Id="rId65" Type="http://schemas.openxmlformats.org/officeDocument/2006/relationships/tags" Target="../tags/tag129.xml"/><Relationship Id="rId81" Type="http://schemas.openxmlformats.org/officeDocument/2006/relationships/tags" Target="../tags/tag145.xml"/><Relationship Id="rId86" Type="http://schemas.openxmlformats.org/officeDocument/2006/relationships/tags" Target="../tags/tag150.xml"/><Relationship Id="rId130" Type="http://schemas.openxmlformats.org/officeDocument/2006/relationships/slideLayout" Target="../slideLayouts/slideLayout15.xml"/><Relationship Id="rId135" Type="http://schemas.openxmlformats.org/officeDocument/2006/relationships/chart" Target="../charts/chart9.xml"/><Relationship Id="rId13" Type="http://schemas.openxmlformats.org/officeDocument/2006/relationships/tags" Target="../tags/tag77.xml"/><Relationship Id="rId18" Type="http://schemas.openxmlformats.org/officeDocument/2006/relationships/tags" Target="../tags/tag82.xml"/><Relationship Id="rId39" Type="http://schemas.openxmlformats.org/officeDocument/2006/relationships/tags" Target="../tags/tag103.xml"/><Relationship Id="rId109" Type="http://schemas.openxmlformats.org/officeDocument/2006/relationships/tags" Target="../tags/tag173.xml"/><Relationship Id="rId34" Type="http://schemas.openxmlformats.org/officeDocument/2006/relationships/tags" Target="../tags/tag98.xml"/><Relationship Id="rId50" Type="http://schemas.openxmlformats.org/officeDocument/2006/relationships/tags" Target="../tags/tag114.xml"/><Relationship Id="rId55" Type="http://schemas.openxmlformats.org/officeDocument/2006/relationships/tags" Target="../tags/tag119.xml"/><Relationship Id="rId76" Type="http://schemas.openxmlformats.org/officeDocument/2006/relationships/tags" Target="../tags/tag140.xml"/><Relationship Id="rId97" Type="http://schemas.openxmlformats.org/officeDocument/2006/relationships/tags" Target="../tags/tag161.xml"/><Relationship Id="rId104" Type="http://schemas.openxmlformats.org/officeDocument/2006/relationships/tags" Target="../tags/tag168.xml"/><Relationship Id="rId120" Type="http://schemas.openxmlformats.org/officeDocument/2006/relationships/tags" Target="../tags/tag184.xml"/><Relationship Id="rId125" Type="http://schemas.openxmlformats.org/officeDocument/2006/relationships/tags" Target="../tags/tag189.xml"/><Relationship Id="rId7" Type="http://schemas.openxmlformats.org/officeDocument/2006/relationships/tags" Target="../tags/tag71.xml"/><Relationship Id="rId71" Type="http://schemas.openxmlformats.org/officeDocument/2006/relationships/tags" Target="../tags/tag135.xml"/><Relationship Id="rId92" Type="http://schemas.openxmlformats.org/officeDocument/2006/relationships/tags" Target="../tags/tag156.xml"/><Relationship Id="rId2" Type="http://schemas.openxmlformats.org/officeDocument/2006/relationships/tags" Target="../tags/tag66.xml"/><Relationship Id="rId29" Type="http://schemas.openxmlformats.org/officeDocument/2006/relationships/tags" Target="../tags/tag93.xml"/><Relationship Id="rId24" Type="http://schemas.openxmlformats.org/officeDocument/2006/relationships/tags" Target="../tags/tag88.xml"/><Relationship Id="rId40" Type="http://schemas.openxmlformats.org/officeDocument/2006/relationships/tags" Target="../tags/tag104.xml"/><Relationship Id="rId45" Type="http://schemas.openxmlformats.org/officeDocument/2006/relationships/tags" Target="../tags/tag109.xml"/><Relationship Id="rId66" Type="http://schemas.openxmlformats.org/officeDocument/2006/relationships/tags" Target="../tags/tag130.xml"/><Relationship Id="rId87" Type="http://schemas.openxmlformats.org/officeDocument/2006/relationships/tags" Target="../tags/tag151.xml"/><Relationship Id="rId110" Type="http://schemas.openxmlformats.org/officeDocument/2006/relationships/tags" Target="../tags/tag174.xml"/><Relationship Id="rId115" Type="http://schemas.openxmlformats.org/officeDocument/2006/relationships/tags" Target="../tags/tag179.xml"/><Relationship Id="rId131" Type="http://schemas.openxmlformats.org/officeDocument/2006/relationships/notesSlide" Target="../notesSlides/notesSlide2.xml"/><Relationship Id="rId136" Type="http://schemas.openxmlformats.org/officeDocument/2006/relationships/chart" Target="../charts/chart10.xml"/><Relationship Id="rId61" Type="http://schemas.openxmlformats.org/officeDocument/2006/relationships/tags" Target="../tags/tag125.xml"/><Relationship Id="rId82" Type="http://schemas.openxmlformats.org/officeDocument/2006/relationships/tags" Target="../tags/tag146.xml"/><Relationship Id="rId19" Type="http://schemas.openxmlformats.org/officeDocument/2006/relationships/tags" Target="../tags/tag83.xml"/><Relationship Id="rId14" Type="http://schemas.openxmlformats.org/officeDocument/2006/relationships/tags" Target="../tags/tag78.xml"/><Relationship Id="rId30" Type="http://schemas.openxmlformats.org/officeDocument/2006/relationships/tags" Target="../tags/tag94.xml"/><Relationship Id="rId35" Type="http://schemas.openxmlformats.org/officeDocument/2006/relationships/tags" Target="../tags/tag99.xml"/><Relationship Id="rId56" Type="http://schemas.openxmlformats.org/officeDocument/2006/relationships/tags" Target="../tags/tag120.xml"/><Relationship Id="rId77" Type="http://schemas.openxmlformats.org/officeDocument/2006/relationships/tags" Target="../tags/tag141.xml"/><Relationship Id="rId100" Type="http://schemas.openxmlformats.org/officeDocument/2006/relationships/tags" Target="../tags/tag164.xml"/><Relationship Id="rId105" Type="http://schemas.openxmlformats.org/officeDocument/2006/relationships/tags" Target="../tags/tag169.xml"/><Relationship Id="rId126" Type="http://schemas.openxmlformats.org/officeDocument/2006/relationships/tags" Target="../tags/tag190.xml"/><Relationship Id="rId8" Type="http://schemas.openxmlformats.org/officeDocument/2006/relationships/tags" Target="../tags/tag72.xml"/><Relationship Id="rId51" Type="http://schemas.openxmlformats.org/officeDocument/2006/relationships/tags" Target="../tags/tag115.xml"/><Relationship Id="rId72" Type="http://schemas.openxmlformats.org/officeDocument/2006/relationships/tags" Target="../tags/tag136.xml"/><Relationship Id="rId93" Type="http://schemas.openxmlformats.org/officeDocument/2006/relationships/tags" Target="../tags/tag157.xml"/><Relationship Id="rId98" Type="http://schemas.openxmlformats.org/officeDocument/2006/relationships/tags" Target="../tags/tag162.xml"/><Relationship Id="rId121" Type="http://schemas.openxmlformats.org/officeDocument/2006/relationships/tags" Target="../tags/tag185.xml"/><Relationship Id="rId3" Type="http://schemas.openxmlformats.org/officeDocument/2006/relationships/tags" Target="../tags/tag67.xml"/><Relationship Id="rId25" Type="http://schemas.openxmlformats.org/officeDocument/2006/relationships/tags" Target="../tags/tag89.xml"/><Relationship Id="rId46" Type="http://schemas.openxmlformats.org/officeDocument/2006/relationships/tags" Target="../tags/tag110.xml"/><Relationship Id="rId67" Type="http://schemas.openxmlformats.org/officeDocument/2006/relationships/tags" Target="../tags/tag131.xml"/><Relationship Id="rId116" Type="http://schemas.openxmlformats.org/officeDocument/2006/relationships/tags" Target="../tags/tag180.xml"/><Relationship Id="rId137" Type="http://schemas.openxmlformats.org/officeDocument/2006/relationships/chart" Target="../charts/chart11.xml"/><Relationship Id="rId20" Type="http://schemas.openxmlformats.org/officeDocument/2006/relationships/tags" Target="../tags/tag84.xml"/><Relationship Id="rId41" Type="http://schemas.openxmlformats.org/officeDocument/2006/relationships/tags" Target="../tags/tag105.xml"/><Relationship Id="rId62" Type="http://schemas.openxmlformats.org/officeDocument/2006/relationships/tags" Target="../tags/tag126.xml"/><Relationship Id="rId83" Type="http://schemas.openxmlformats.org/officeDocument/2006/relationships/tags" Target="../tags/tag147.xml"/><Relationship Id="rId88" Type="http://schemas.openxmlformats.org/officeDocument/2006/relationships/tags" Target="../tags/tag152.xml"/><Relationship Id="rId111" Type="http://schemas.openxmlformats.org/officeDocument/2006/relationships/tags" Target="../tags/tag175.xml"/><Relationship Id="rId132" Type="http://schemas.openxmlformats.org/officeDocument/2006/relationships/oleObject" Target="../embeddings/oleObject8.bin"/><Relationship Id="rId15" Type="http://schemas.openxmlformats.org/officeDocument/2006/relationships/tags" Target="../tags/tag79.xml"/><Relationship Id="rId36" Type="http://schemas.openxmlformats.org/officeDocument/2006/relationships/tags" Target="../tags/tag100.xml"/><Relationship Id="rId57" Type="http://schemas.openxmlformats.org/officeDocument/2006/relationships/tags" Target="../tags/tag121.xml"/><Relationship Id="rId106" Type="http://schemas.openxmlformats.org/officeDocument/2006/relationships/tags" Target="../tags/tag170.xml"/><Relationship Id="rId127" Type="http://schemas.openxmlformats.org/officeDocument/2006/relationships/tags" Target="../tags/tag191.xml"/><Relationship Id="rId10" Type="http://schemas.openxmlformats.org/officeDocument/2006/relationships/tags" Target="../tags/tag74.xml"/><Relationship Id="rId31" Type="http://schemas.openxmlformats.org/officeDocument/2006/relationships/tags" Target="../tags/tag95.xml"/><Relationship Id="rId52" Type="http://schemas.openxmlformats.org/officeDocument/2006/relationships/tags" Target="../tags/tag116.xml"/><Relationship Id="rId73" Type="http://schemas.openxmlformats.org/officeDocument/2006/relationships/tags" Target="../tags/tag137.xml"/><Relationship Id="rId78" Type="http://schemas.openxmlformats.org/officeDocument/2006/relationships/tags" Target="../tags/tag142.xml"/><Relationship Id="rId94" Type="http://schemas.openxmlformats.org/officeDocument/2006/relationships/tags" Target="../tags/tag158.xml"/><Relationship Id="rId99" Type="http://schemas.openxmlformats.org/officeDocument/2006/relationships/tags" Target="../tags/tag163.xml"/><Relationship Id="rId101" Type="http://schemas.openxmlformats.org/officeDocument/2006/relationships/tags" Target="../tags/tag165.xml"/><Relationship Id="rId122" Type="http://schemas.openxmlformats.org/officeDocument/2006/relationships/tags" Target="../tags/tag186.xml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26" Type="http://schemas.openxmlformats.org/officeDocument/2006/relationships/tags" Target="../tags/tag90.xml"/><Relationship Id="rId47" Type="http://schemas.openxmlformats.org/officeDocument/2006/relationships/tags" Target="../tags/tag111.xml"/><Relationship Id="rId68" Type="http://schemas.openxmlformats.org/officeDocument/2006/relationships/tags" Target="../tags/tag132.xml"/><Relationship Id="rId89" Type="http://schemas.openxmlformats.org/officeDocument/2006/relationships/tags" Target="../tags/tag153.xml"/><Relationship Id="rId112" Type="http://schemas.openxmlformats.org/officeDocument/2006/relationships/tags" Target="../tags/tag176.xml"/><Relationship Id="rId133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117" Type="http://schemas.openxmlformats.org/officeDocument/2006/relationships/tags" Target="../tags/tag310.xml"/><Relationship Id="rId21" Type="http://schemas.openxmlformats.org/officeDocument/2006/relationships/tags" Target="../tags/tag214.xml"/><Relationship Id="rId42" Type="http://schemas.openxmlformats.org/officeDocument/2006/relationships/tags" Target="../tags/tag235.xml"/><Relationship Id="rId63" Type="http://schemas.openxmlformats.org/officeDocument/2006/relationships/tags" Target="../tags/tag256.xml"/><Relationship Id="rId84" Type="http://schemas.openxmlformats.org/officeDocument/2006/relationships/tags" Target="../tags/tag277.xml"/><Relationship Id="rId138" Type="http://schemas.openxmlformats.org/officeDocument/2006/relationships/tags" Target="../tags/tag331.xml"/><Relationship Id="rId159" Type="http://schemas.openxmlformats.org/officeDocument/2006/relationships/tags" Target="../tags/tag352.xml"/><Relationship Id="rId170" Type="http://schemas.openxmlformats.org/officeDocument/2006/relationships/tags" Target="../tags/tag363.xml"/><Relationship Id="rId107" Type="http://schemas.openxmlformats.org/officeDocument/2006/relationships/tags" Target="../tags/tag300.xml"/><Relationship Id="rId11" Type="http://schemas.openxmlformats.org/officeDocument/2006/relationships/tags" Target="../tags/tag204.xml"/><Relationship Id="rId32" Type="http://schemas.openxmlformats.org/officeDocument/2006/relationships/tags" Target="../tags/tag225.xml"/><Relationship Id="rId53" Type="http://schemas.openxmlformats.org/officeDocument/2006/relationships/tags" Target="../tags/tag246.xml"/><Relationship Id="rId74" Type="http://schemas.openxmlformats.org/officeDocument/2006/relationships/tags" Target="../tags/tag267.xml"/><Relationship Id="rId128" Type="http://schemas.openxmlformats.org/officeDocument/2006/relationships/tags" Target="../tags/tag321.xml"/><Relationship Id="rId149" Type="http://schemas.openxmlformats.org/officeDocument/2006/relationships/tags" Target="../tags/tag342.xml"/><Relationship Id="rId5" Type="http://schemas.openxmlformats.org/officeDocument/2006/relationships/tags" Target="../tags/tag198.xml"/><Relationship Id="rId95" Type="http://schemas.openxmlformats.org/officeDocument/2006/relationships/tags" Target="../tags/tag288.xml"/><Relationship Id="rId160" Type="http://schemas.openxmlformats.org/officeDocument/2006/relationships/tags" Target="../tags/tag353.xml"/><Relationship Id="rId181" Type="http://schemas.openxmlformats.org/officeDocument/2006/relationships/chart" Target="../charts/chart17.xml"/><Relationship Id="rId22" Type="http://schemas.openxmlformats.org/officeDocument/2006/relationships/tags" Target="../tags/tag215.xml"/><Relationship Id="rId43" Type="http://schemas.openxmlformats.org/officeDocument/2006/relationships/tags" Target="../tags/tag236.xml"/><Relationship Id="rId64" Type="http://schemas.openxmlformats.org/officeDocument/2006/relationships/tags" Target="../tags/tag257.xml"/><Relationship Id="rId118" Type="http://schemas.openxmlformats.org/officeDocument/2006/relationships/tags" Target="../tags/tag311.xml"/><Relationship Id="rId139" Type="http://schemas.openxmlformats.org/officeDocument/2006/relationships/tags" Target="../tags/tag332.xml"/><Relationship Id="rId85" Type="http://schemas.openxmlformats.org/officeDocument/2006/relationships/tags" Target="../tags/tag278.xml"/><Relationship Id="rId150" Type="http://schemas.openxmlformats.org/officeDocument/2006/relationships/tags" Target="../tags/tag343.xml"/><Relationship Id="rId171" Type="http://schemas.openxmlformats.org/officeDocument/2006/relationships/tags" Target="../tags/tag364.xml"/><Relationship Id="rId12" Type="http://schemas.openxmlformats.org/officeDocument/2006/relationships/tags" Target="../tags/tag205.xml"/><Relationship Id="rId33" Type="http://schemas.openxmlformats.org/officeDocument/2006/relationships/tags" Target="../tags/tag226.xml"/><Relationship Id="rId108" Type="http://schemas.openxmlformats.org/officeDocument/2006/relationships/tags" Target="../tags/tag301.xml"/><Relationship Id="rId129" Type="http://schemas.openxmlformats.org/officeDocument/2006/relationships/tags" Target="../tags/tag322.xml"/><Relationship Id="rId54" Type="http://schemas.openxmlformats.org/officeDocument/2006/relationships/tags" Target="../tags/tag247.xml"/><Relationship Id="rId75" Type="http://schemas.openxmlformats.org/officeDocument/2006/relationships/tags" Target="../tags/tag268.xml"/><Relationship Id="rId96" Type="http://schemas.openxmlformats.org/officeDocument/2006/relationships/tags" Target="../tags/tag289.xml"/><Relationship Id="rId140" Type="http://schemas.openxmlformats.org/officeDocument/2006/relationships/tags" Target="../tags/tag333.xml"/><Relationship Id="rId161" Type="http://schemas.openxmlformats.org/officeDocument/2006/relationships/tags" Target="../tags/tag354.xml"/><Relationship Id="rId182" Type="http://schemas.openxmlformats.org/officeDocument/2006/relationships/chart" Target="../charts/chart18.xml"/><Relationship Id="rId6" Type="http://schemas.openxmlformats.org/officeDocument/2006/relationships/tags" Target="../tags/tag199.xml"/><Relationship Id="rId23" Type="http://schemas.openxmlformats.org/officeDocument/2006/relationships/tags" Target="../tags/tag216.xml"/><Relationship Id="rId119" Type="http://schemas.openxmlformats.org/officeDocument/2006/relationships/tags" Target="../tags/tag312.xml"/><Relationship Id="rId44" Type="http://schemas.openxmlformats.org/officeDocument/2006/relationships/tags" Target="../tags/tag237.xml"/><Relationship Id="rId60" Type="http://schemas.openxmlformats.org/officeDocument/2006/relationships/tags" Target="../tags/tag253.xml"/><Relationship Id="rId65" Type="http://schemas.openxmlformats.org/officeDocument/2006/relationships/tags" Target="../tags/tag258.xml"/><Relationship Id="rId81" Type="http://schemas.openxmlformats.org/officeDocument/2006/relationships/tags" Target="../tags/tag274.xml"/><Relationship Id="rId86" Type="http://schemas.openxmlformats.org/officeDocument/2006/relationships/tags" Target="../tags/tag279.xml"/><Relationship Id="rId130" Type="http://schemas.openxmlformats.org/officeDocument/2006/relationships/tags" Target="../tags/tag323.xml"/><Relationship Id="rId135" Type="http://schemas.openxmlformats.org/officeDocument/2006/relationships/tags" Target="../tags/tag328.xml"/><Relationship Id="rId151" Type="http://schemas.openxmlformats.org/officeDocument/2006/relationships/tags" Target="../tags/tag344.xml"/><Relationship Id="rId156" Type="http://schemas.openxmlformats.org/officeDocument/2006/relationships/tags" Target="../tags/tag349.xml"/><Relationship Id="rId177" Type="http://schemas.openxmlformats.org/officeDocument/2006/relationships/image" Target="../media/image1.emf"/><Relationship Id="rId172" Type="http://schemas.openxmlformats.org/officeDocument/2006/relationships/tags" Target="../tags/tag365.xml"/><Relationship Id="rId13" Type="http://schemas.openxmlformats.org/officeDocument/2006/relationships/tags" Target="../tags/tag206.xml"/><Relationship Id="rId18" Type="http://schemas.openxmlformats.org/officeDocument/2006/relationships/tags" Target="../tags/tag211.xml"/><Relationship Id="rId39" Type="http://schemas.openxmlformats.org/officeDocument/2006/relationships/tags" Target="../tags/tag232.xml"/><Relationship Id="rId109" Type="http://schemas.openxmlformats.org/officeDocument/2006/relationships/tags" Target="../tags/tag302.xml"/><Relationship Id="rId34" Type="http://schemas.openxmlformats.org/officeDocument/2006/relationships/tags" Target="../tags/tag227.xml"/><Relationship Id="rId50" Type="http://schemas.openxmlformats.org/officeDocument/2006/relationships/tags" Target="../tags/tag243.xml"/><Relationship Id="rId55" Type="http://schemas.openxmlformats.org/officeDocument/2006/relationships/tags" Target="../tags/tag248.xml"/><Relationship Id="rId76" Type="http://schemas.openxmlformats.org/officeDocument/2006/relationships/tags" Target="../tags/tag269.xml"/><Relationship Id="rId97" Type="http://schemas.openxmlformats.org/officeDocument/2006/relationships/tags" Target="../tags/tag290.xml"/><Relationship Id="rId104" Type="http://schemas.openxmlformats.org/officeDocument/2006/relationships/tags" Target="../tags/tag297.xml"/><Relationship Id="rId120" Type="http://schemas.openxmlformats.org/officeDocument/2006/relationships/tags" Target="../tags/tag313.xml"/><Relationship Id="rId125" Type="http://schemas.openxmlformats.org/officeDocument/2006/relationships/tags" Target="../tags/tag318.xml"/><Relationship Id="rId141" Type="http://schemas.openxmlformats.org/officeDocument/2006/relationships/tags" Target="../tags/tag334.xml"/><Relationship Id="rId146" Type="http://schemas.openxmlformats.org/officeDocument/2006/relationships/tags" Target="../tags/tag339.xml"/><Relationship Id="rId167" Type="http://schemas.openxmlformats.org/officeDocument/2006/relationships/tags" Target="../tags/tag360.xml"/><Relationship Id="rId7" Type="http://schemas.openxmlformats.org/officeDocument/2006/relationships/tags" Target="../tags/tag200.xml"/><Relationship Id="rId71" Type="http://schemas.openxmlformats.org/officeDocument/2006/relationships/tags" Target="../tags/tag264.xml"/><Relationship Id="rId92" Type="http://schemas.openxmlformats.org/officeDocument/2006/relationships/tags" Target="../tags/tag285.xml"/><Relationship Id="rId162" Type="http://schemas.openxmlformats.org/officeDocument/2006/relationships/tags" Target="../tags/tag355.xml"/><Relationship Id="rId183" Type="http://schemas.openxmlformats.org/officeDocument/2006/relationships/chart" Target="../charts/chart19.xml"/><Relationship Id="rId2" Type="http://schemas.openxmlformats.org/officeDocument/2006/relationships/tags" Target="../tags/tag195.xml"/><Relationship Id="rId29" Type="http://schemas.openxmlformats.org/officeDocument/2006/relationships/tags" Target="../tags/tag222.xml"/><Relationship Id="rId24" Type="http://schemas.openxmlformats.org/officeDocument/2006/relationships/tags" Target="../tags/tag217.xml"/><Relationship Id="rId40" Type="http://schemas.openxmlformats.org/officeDocument/2006/relationships/tags" Target="../tags/tag233.xml"/><Relationship Id="rId45" Type="http://schemas.openxmlformats.org/officeDocument/2006/relationships/tags" Target="../tags/tag238.xml"/><Relationship Id="rId66" Type="http://schemas.openxmlformats.org/officeDocument/2006/relationships/tags" Target="../tags/tag259.xml"/><Relationship Id="rId87" Type="http://schemas.openxmlformats.org/officeDocument/2006/relationships/tags" Target="../tags/tag280.xml"/><Relationship Id="rId110" Type="http://schemas.openxmlformats.org/officeDocument/2006/relationships/tags" Target="../tags/tag303.xml"/><Relationship Id="rId115" Type="http://schemas.openxmlformats.org/officeDocument/2006/relationships/tags" Target="../tags/tag308.xml"/><Relationship Id="rId131" Type="http://schemas.openxmlformats.org/officeDocument/2006/relationships/tags" Target="../tags/tag324.xml"/><Relationship Id="rId136" Type="http://schemas.openxmlformats.org/officeDocument/2006/relationships/tags" Target="../tags/tag329.xml"/><Relationship Id="rId157" Type="http://schemas.openxmlformats.org/officeDocument/2006/relationships/tags" Target="../tags/tag350.xml"/><Relationship Id="rId178" Type="http://schemas.openxmlformats.org/officeDocument/2006/relationships/chart" Target="../charts/chart14.xml"/><Relationship Id="rId61" Type="http://schemas.openxmlformats.org/officeDocument/2006/relationships/tags" Target="../tags/tag254.xml"/><Relationship Id="rId82" Type="http://schemas.openxmlformats.org/officeDocument/2006/relationships/tags" Target="../tags/tag275.xml"/><Relationship Id="rId152" Type="http://schemas.openxmlformats.org/officeDocument/2006/relationships/tags" Target="../tags/tag345.xml"/><Relationship Id="rId173" Type="http://schemas.openxmlformats.org/officeDocument/2006/relationships/tags" Target="../tags/tag366.xml"/><Relationship Id="rId19" Type="http://schemas.openxmlformats.org/officeDocument/2006/relationships/tags" Target="../tags/tag212.xml"/><Relationship Id="rId14" Type="http://schemas.openxmlformats.org/officeDocument/2006/relationships/tags" Target="../tags/tag207.xml"/><Relationship Id="rId30" Type="http://schemas.openxmlformats.org/officeDocument/2006/relationships/tags" Target="../tags/tag223.xml"/><Relationship Id="rId35" Type="http://schemas.openxmlformats.org/officeDocument/2006/relationships/tags" Target="../tags/tag228.xml"/><Relationship Id="rId56" Type="http://schemas.openxmlformats.org/officeDocument/2006/relationships/tags" Target="../tags/tag249.xml"/><Relationship Id="rId77" Type="http://schemas.openxmlformats.org/officeDocument/2006/relationships/tags" Target="../tags/tag270.xml"/><Relationship Id="rId100" Type="http://schemas.openxmlformats.org/officeDocument/2006/relationships/tags" Target="../tags/tag293.xml"/><Relationship Id="rId105" Type="http://schemas.openxmlformats.org/officeDocument/2006/relationships/tags" Target="../tags/tag298.xml"/><Relationship Id="rId126" Type="http://schemas.openxmlformats.org/officeDocument/2006/relationships/tags" Target="../tags/tag319.xml"/><Relationship Id="rId147" Type="http://schemas.openxmlformats.org/officeDocument/2006/relationships/tags" Target="../tags/tag340.xml"/><Relationship Id="rId168" Type="http://schemas.openxmlformats.org/officeDocument/2006/relationships/tags" Target="../tags/tag361.xml"/><Relationship Id="rId8" Type="http://schemas.openxmlformats.org/officeDocument/2006/relationships/tags" Target="../tags/tag201.xml"/><Relationship Id="rId51" Type="http://schemas.openxmlformats.org/officeDocument/2006/relationships/tags" Target="../tags/tag244.xml"/><Relationship Id="rId72" Type="http://schemas.openxmlformats.org/officeDocument/2006/relationships/tags" Target="../tags/tag265.xml"/><Relationship Id="rId93" Type="http://schemas.openxmlformats.org/officeDocument/2006/relationships/tags" Target="../tags/tag286.xml"/><Relationship Id="rId98" Type="http://schemas.openxmlformats.org/officeDocument/2006/relationships/tags" Target="../tags/tag291.xml"/><Relationship Id="rId121" Type="http://schemas.openxmlformats.org/officeDocument/2006/relationships/tags" Target="../tags/tag314.xml"/><Relationship Id="rId142" Type="http://schemas.openxmlformats.org/officeDocument/2006/relationships/tags" Target="../tags/tag335.xml"/><Relationship Id="rId163" Type="http://schemas.openxmlformats.org/officeDocument/2006/relationships/tags" Target="../tags/tag356.xml"/><Relationship Id="rId3" Type="http://schemas.openxmlformats.org/officeDocument/2006/relationships/tags" Target="../tags/tag196.xml"/><Relationship Id="rId25" Type="http://schemas.openxmlformats.org/officeDocument/2006/relationships/tags" Target="../tags/tag218.xml"/><Relationship Id="rId46" Type="http://schemas.openxmlformats.org/officeDocument/2006/relationships/tags" Target="../tags/tag239.xml"/><Relationship Id="rId67" Type="http://schemas.openxmlformats.org/officeDocument/2006/relationships/tags" Target="../tags/tag260.xml"/><Relationship Id="rId116" Type="http://schemas.openxmlformats.org/officeDocument/2006/relationships/tags" Target="../tags/tag309.xml"/><Relationship Id="rId137" Type="http://schemas.openxmlformats.org/officeDocument/2006/relationships/tags" Target="../tags/tag330.xml"/><Relationship Id="rId158" Type="http://schemas.openxmlformats.org/officeDocument/2006/relationships/tags" Target="../tags/tag351.xml"/><Relationship Id="rId20" Type="http://schemas.openxmlformats.org/officeDocument/2006/relationships/tags" Target="../tags/tag213.xml"/><Relationship Id="rId41" Type="http://schemas.openxmlformats.org/officeDocument/2006/relationships/tags" Target="../tags/tag234.xml"/><Relationship Id="rId62" Type="http://schemas.openxmlformats.org/officeDocument/2006/relationships/tags" Target="../tags/tag255.xml"/><Relationship Id="rId83" Type="http://schemas.openxmlformats.org/officeDocument/2006/relationships/tags" Target="../tags/tag276.xml"/><Relationship Id="rId88" Type="http://schemas.openxmlformats.org/officeDocument/2006/relationships/tags" Target="../tags/tag281.xml"/><Relationship Id="rId111" Type="http://schemas.openxmlformats.org/officeDocument/2006/relationships/tags" Target="../tags/tag304.xml"/><Relationship Id="rId132" Type="http://schemas.openxmlformats.org/officeDocument/2006/relationships/tags" Target="../tags/tag325.xml"/><Relationship Id="rId153" Type="http://schemas.openxmlformats.org/officeDocument/2006/relationships/tags" Target="../tags/tag346.xml"/><Relationship Id="rId174" Type="http://schemas.openxmlformats.org/officeDocument/2006/relationships/tags" Target="../tags/tag367.xml"/><Relationship Id="rId179" Type="http://schemas.openxmlformats.org/officeDocument/2006/relationships/chart" Target="../charts/chart15.xml"/><Relationship Id="rId15" Type="http://schemas.openxmlformats.org/officeDocument/2006/relationships/tags" Target="../tags/tag208.xml"/><Relationship Id="rId36" Type="http://schemas.openxmlformats.org/officeDocument/2006/relationships/tags" Target="../tags/tag229.xml"/><Relationship Id="rId57" Type="http://schemas.openxmlformats.org/officeDocument/2006/relationships/tags" Target="../tags/tag250.xml"/><Relationship Id="rId106" Type="http://schemas.openxmlformats.org/officeDocument/2006/relationships/tags" Target="../tags/tag299.xml"/><Relationship Id="rId127" Type="http://schemas.openxmlformats.org/officeDocument/2006/relationships/tags" Target="../tags/tag320.xml"/><Relationship Id="rId10" Type="http://schemas.openxmlformats.org/officeDocument/2006/relationships/tags" Target="../tags/tag203.xml"/><Relationship Id="rId31" Type="http://schemas.openxmlformats.org/officeDocument/2006/relationships/tags" Target="../tags/tag224.xml"/><Relationship Id="rId52" Type="http://schemas.openxmlformats.org/officeDocument/2006/relationships/tags" Target="../tags/tag245.xml"/><Relationship Id="rId73" Type="http://schemas.openxmlformats.org/officeDocument/2006/relationships/tags" Target="../tags/tag266.xml"/><Relationship Id="rId78" Type="http://schemas.openxmlformats.org/officeDocument/2006/relationships/tags" Target="../tags/tag271.xml"/><Relationship Id="rId94" Type="http://schemas.openxmlformats.org/officeDocument/2006/relationships/tags" Target="../tags/tag287.xml"/><Relationship Id="rId99" Type="http://schemas.openxmlformats.org/officeDocument/2006/relationships/tags" Target="../tags/tag292.xml"/><Relationship Id="rId101" Type="http://schemas.openxmlformats.org/officeDocument/2006/relationships/tags" Target="../tags/tag294.xml"/><Relationship Id="rId122" Type="http://schemas.openxmlformats.org/officeDocument/2006/relationships/tags" Target="../tags/tag315.xml"/><Relationship Id="rId143" Type="http://schemas.openxmlformats.org/officeDocument/2006/relationships/tags" Target="../tags/tag336.xml"/><Relationship Id="rId148" Type="http://schemas.openxmlformats.org/officeDocument/2006/relationships/tags" Target="../tags/tag341.xml"/><Relationship Id="rId164" Type="http://schemas.openxmlformats.org/officeDocument/2006/relationships/tags" Target="../tags/tag357.xml"/><Relationship Id="rId169" Type="http://schemas.openxmlformats.org/officeDocument/2006/relationships/tags" Target="../tags/tag362.xml"/><Relationship Id="rId4" Type="http://schemas.openxmlformats.org/officeDocument/2006/relationships/tags" Target="../tags/tag197.xml"/><Relationship Id="rId9" Type="http://schemas.openxmlformats.org/officeDocument/2006/relationships/tags" Target="../tags/tag202.xml"/><Relationship Id="rId180" Type="http://schemas.openxmlformats.org/officeDocument/2006/relationships/chart" Target="../charts/chart16.xml"/><Relationship Id="rId26" Type="http://schemas.openxmlformats.org/officeDocument/2006/relationships/tags" Target="../tags/tag219.xml"/><Relationship Id="rId47" Type="http://schemas.openxmlformats.org/officeDocument/2006/relationships/tags" Target="../tags/tag240.xml"/><Relationship Id="rId68" Type="http://schemas.openxmlformats.org/officeDocument/2006/relationships/tags" Target="../tags/tag261.xml"/><Relationship Id="rId89" Type="http://schemas.openxmlformats.org/officeDocument/2006/relationships/tags" Target="../tags/tag282.xml"/><Relationship Id="rId112" Type="http://schemas.openxmlformats.org/officeDocument/2006/relationships/tags" Target="../tags/tag305.xml"/><Relationship Id="rId133" Type="http://schemas.openxmlformats.org/officeDocument/2006/relationships/tags" Target="../tags/tag326.xml"/><Relationship Id="rId154" Type="http://schemas.openxmlformats.org/officeDocument/2006/relationships/tags" Target="../tags/tag347.xml"/><Relationship Id="rId175" Type="http://schemas.openxmlformats.org/officeDocument/2006/relationships/slideLayout" Target="../slideLayouts/slideLayout25.xml"/><Relationship Id="rId16" Type="http://schemas.openxmlformats.org/officeDocument/2006/relationships/tags" Target="../tags/tag209.xml"/><Relationship Id="rId37" Type="http://schemas.openxmlformats.org/officeDocument/2006/relationships/tags" Target="../tags/tag230.xml"/><Relationship Id="rId58" Type="http://schemas.openxmlformats.org/officeDocument/2006/relationships/tags" Target="../tags/tag251.xml"/><Relationship Id="rId79" Type="http://schemas.openxmlformats.org/officeDocument/2006/relationships/tags" Target="../tags/tag272.xml"/><Relationship Id="rId102" Type="http://schemas.openxmlformats.org/officeDocument/2006/relationships/tags" Target="../tags/tag295.xml"/><Relationship Id="rId123" Type="http://schemas.openxmlformats.org/officeDocument/2006/relationships/tags" Target="../tags/tag316.xml"/><Relationship Id="rId144" Type="http://schemas.openxmlformats.org/officeDocument/2006/relationships/tags" Target="../tags/tag337.xml"/><Relationship Id="rId90" Type="http://schemas.openxmlformats.org/officeDocument/2006/relationships/tags" Target="../tags/tag283.xml"/><Relationship Id="rId165" Type="http://schemas.openxmlformats.org/officeDocument/2006/relationships/tags" Target="../tags/tag358.xml"/><Relationship Id="rId27" Type="http://schemas.openxmlformats.org/officeDocument/2006/relationships/tags" Target="../tags/tag220.xml"/><Relationship Id="rId48" Type="http://schemas.openxmlformats.org/officeDocument/2006/relationships/tags" Target="../tags/tag241.xml"/><Relationship Id="rId69" Type="http://schemas.openxmlformats.org/officeDocument/2006/relationships/tags" Target="../tags/tag262.xml"/><Relationship Id="rId113" Type="http://schemas.openxmlformats.org/officeDocument/2006/relationships/tags" Target="../tags/tag306.xml"/><Relationship Id="rId134" Type="http://schemas.openxmlformats.org/officeDocument/2006/relationships/tags" Target="../tags/tag327.xml"/><Relationship Id="rId80" Type="http://schemas.openxmlformats.org/officeDocument/2006/relationships/tags" Target="../tags/tag273.xml"/><Relationship Id="rId155" Type="http://schemas.openxmlformats.org/officeDocument/2006/relationships/tags" Target="../tags/tag348.xml"/><Relationship Id="rId176" Type="http://schemas.openxmlformats.org/officeDocument/2006/relationships/oleObject" Target="../embeddings/oleObject9.bin"/><Relationship Id="rId17" Type="http://schemas.openxmlformats.org/officeDocument/2006/relationships/tags" Target="../tags/tag210.xml"/><Relationship Id="rId38" Type="http://schemas.openxmlformats.org/officeDocument/2006/relationships/tags" Target="../tags/tag231.xml"/><Relationship Id="rId59" Type="http://schemas.openxmlformats.org/officeDocument/2006/relationships/tags" Target="../tags/tag252.xml"/><Relationship Id="rId103" Type="http://schemas.openxmlformats.org/officeDocument/2006/relationships/tags" Target="../tags/tag296.xml"/><Relationship Id="rId124" Type="http://schemas.openxmlformats.org/officeDocument/2006/relationships/tags" Target="../tags/tag317.xml"/><Relationship Id="rId70" Type="http://schemas.openxmlformats.org/officeDocument/2006/relationships/tags" Target="../tags/tag263.xml"/><Relationship Id="rId91" Type="http://schemas.openxmlformats.org/officeDocument/2006/relationships/tags" Target="../tags/tag284.xml"/><Relationship Id="rId145" Type="http://schemas.openxmlformats.org/officeDocument/2006/relationships/tags" Target="../tags/tag338.xml"/><Relationship Id="rId166" Type="http://schemas.openxmlformats.org/officeDocument/2006/relationships/tags" Target="../tags/tag359.xml"/><Relationship Id="rId1" Type="http://schemas.openxmlformats.org/officeDocument/2006/relationships/tags" Target="../tags/tag194.xml"/><Relationship Id="rId28" Type="http://schemas.openxmlformats.org/officeDocument/2006/relationships/tags" Target="../tags/tag221.xml"/><Relationship Id="rId49" Type="http://schemas.openxmlformats.org/officeDocument/2006/relationships/tags" Target="../tags/tag242.xml"/><Relationship Id="rId114" Type="http://schemas.openxmlformats.org/officeDocument/2006/relationships/tags" Target="../tags/tag307.xml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tags" Target="../tags/tag393.xml"/><Relationship Id="rId21" Type="http://schemas.openxmlformats.org/officeDocument/2006/relationships/tags" Target="../tags/tag388.xml"/><Relationship Id="rId34" Type="http://schemas.openxmlformats.org/officeDocument/2006/relationships/tags" Target="../tags/tag401.xml"/><Relationship Id="rId42" Type="http://schemas.openxmlformats.org/officeDocument/2006/relationships/tags" Target="../tags/tag409.xml"/><Relationship Id="rId47" Type="http://schemas.openxmlformats.org/officeDocument/2006/relationships/tags" Target="../tags/tag414.xml"/><Relationship Id="rId50" Type="http://schemas.openxmlformats.org/officeDocument/2006/relationships/tags" Target="../tags/tag417.xml"/><Relationship Id="rId55" Type="http://schemas.openxmlformats.org/officeDocument/2006/relationships/tags" Target="../tags/tag422.xml"/><Relationship Id="rId63" Type="http://schemas.openxmlformats.org/officeDocument/2006/relationships/image" Target="../media/image12.emf"/><Relationship Id="rId7" Type="http://schemas.openxmlformats.org/officeDocument/2006/relationships/tags" Target="../tags/tag374.xml"/><Relationship Id="rId2" Type="http://schemas.openxmlformats.org/officeDocument/2006/relationships/tags" Target="../tags/tag369.xml"/><Relationship Id="rId16" Type="http://schemas.openxmlformats.org/officeDocument/2006/relationships/tags" Target="../tags/tag383.xml"/><Relationship Id="rId29" Type="http://schemas.openxmlformats.org/officeDocument/2006/relationships/tags" Target="../tags/tag396.xml"/><Relationship Id="rId11" Type="http://schemas.openxmlformats.org/officeDocument/2006/relationships/tags" Target="../tags/tag378.xml"/><Relationship Id="rId24" Type="http://schemas.openxmlformats.org/officeDocument/2006/relationships/tags" Target="../tags/tag391.xml"/><Relationship Id="rId32" Type="http://schemas.openxmlformats.org/officeDocument/2006/relationships/tags" Target="../tags/tag399.xml"/><Relationship Id="rId37" Type="http://schemas.openxmlformats.org/officeDocument/2006/relationships/tags" Target="../tags/tag404.xml"/><Relationship Id="rId40" Type="http://schemas.openxmlformats.org/officeDocument/2006/relationships/tags" Target="../tags/tag407.xml"/><Relationship Id="rId45" Type="http://schemas.openxmlformats.org/officeDocument/2006/relationships/tags" Target="../tags/tag412.xml"/><Relationship Id="rId53" Type="http://schemas.openxmlformats.org/officeDocument/2006/relationships/tags" Target="../tags/tag420.xml"/><Relationship Id="rId58" Type="http://schemas.openxmlformats.org/officeDocument/2006/relationships/tags" Target="../tags/tag425.xml"/><Relationship Id="rId5" Type="http://schemas.openxmlformats.org/officeDocument/2006/relationships/tags" Target="../tags/tag372.xml"/><Relationship Id="rId61" Type="http://schemas.openxmlformats.org/officeDocument/2006/relationships/slideLayout" Target="../slideLayouts/slideLayout15.xml"/><Relationship Id="rId19" Type="http://schemas.openxmlformats.org/officeDocument/2006/relationships/tags" Target="../tags/tag386.xml"/><Relationship Id="rId14" Type="http://schemas.openxmlformats.org/officeDocument/2006/relationships/tags" Target="../tags/tag381.xml"/><Relationship Id="rId22" Type="http://schemas.openxmlformats.org/officeDocument/2006/relationships/tags" Target="../tags/tag389.xml"/><Relationship Id="rId27" Type="http://schemas.openxmlformats.org/officeDocument/2006/relationships/tags" Target="../tags/tag394.xml"/><Relationship Id="rId30" Type="http://schemas.openxmlformats.org/officeDocument/2006/relationships/tags" Target="../tags/tag397.xml"/><Relationship Id="rId35" Type="http://schemas.openxmlformats.org/officeDocument/2006/relationships/tags" Target="../tags/tag402.xml"/><Relationship Id="rId43" Type="http://schemas.openxmlformats.org/officeDocument/2006/relationships/tags" Target="../tags/tag410.xml"/><Relationship Id="rId48" Type="http://schemas.openxmlformats.org/officeDocument/2006/relationships/tags" Target="../tags/tag415.xml"/><Relationship Id="rId56" Type="http://schemas.openxmlformats.org/officeDocument/2006/relationships/tags" Target="../tags/tag423.xml"/><Relationship Id="rId64" Type="http://schemas.openxmlformats.org/officeDocument/2006/relationships/chart" Target="../charts/chart20.xml"/><Relationship Id="rId8" Type="http://schemas.openxmlformats.org/officeDocument/2006/relationships/tags" Target="../tags/tag375.xml"/><Relationship Id="rId51" Type="http://schemas.openxmlformats.org/officeDocument/2006/relationships/tags" Target="../tags/tag418.xml"/><Relationship Id="rId3" Type="http://schemas.openxmlformats.org/officeDocument/2006/relationships/tags" Target="../tags/tag370.xml"/><Relationship Id="rId12" Type="http://schemas.openxmlformats.org/officeDocument/2006/relationships/tags" Target="../tags/tag379.xml"/><Relationship Id="rId17" Type="http://schemas.openxmlformats.org/officeDocument/2006/relationships/tags" Target="../tags/tag384.xml"/><Relationship Id="rId25" Type="http://schemas.openxmlformats.org/officeDocument/2006/relationships/tags" Target="../tags/tag392.xml"/><Relationship Id="rId33" Type="http://schemas.openxmlformats.org/officeDocument/2006/relationships/tags" Target="../tags/tag400.xml"/><Relationship Id="rId38" Type="http://schemas.openxmlformats.org/officeDocument/2006/relationships/tags" Target="../tags/tag405.xml"/><Relationship Id="rId46" Type="http://schemas.openxmlformats.org/officeDocument/2006/relationships/tags" Target="../tags/tag413.xml"/><Relationship Id="rId59" Type="http://schemas.openxmlformats.org/officeDocument/2006/relationships/tags" Target="../tags/tag426.xml"/><Relationship Id="rId20" Type="http://schemas.openxmlformats.org/officeDocument/2006/relationships/tags" Target="../tags/tag387.xml"/><Relationship Id="rId41" Type="http://schemas.openxmlformats.org/officeDocument/2006/relationships/tags" Target="../tags/tag408.xml"/><Relationship Id="rId54" Type="http://schemas.openxmlformats.org/officeDocument/2006/relationships/tags" Target="../tags/tag421.xml"/><Relationship Id="rId62" Type="http://schemas.openxmlformats.org/officeDocument/2006/relationships/oleObject" Target="../embeddings/oleObject10.bin"/><Relationship Id="rId1" Type="http://schemas.openxmlformats.org/officeDocument/2006/relationships/tags" Target="../tags/tag368.xml"/><Relationship Id="rId6" Type="http://schemas.openxmlformats.org/officeDocument/2006/relationships/tags" Target="../tags/tag373.xml"/><Relationship Id="rId15" Type="http://schemas.openxmlformats.org/officeDocument/2006/relationships/tags" Target="../tags/tag382.xml"/><Relationship Id="rId23" Type="http://schemas.openxmlformats.org/officeDocument/2006/relationships/tags" Target="../tags/tag390.xml"/><Relationship Id="rId28" Type="http://schemas.openxmlformats.org/officeDocument/2006/relationships/tags" Target="../tags/tag395.xml"/><Relationship Id="rId36" Type="http://schemas.openxmlformats.org/officeDocument/2006/relationships/tags" Target="../tags/tag403.xml"/><Relationship Id="rId49" Type="http://schemas.openxmlformats.org/officeDocument/2006/relationships/tags" Target="../tags/tag416.xml"/><Relationship Id="rId57" Type="http://schemas.openxmlformats.org/officeDocument/2006/relationships/tags" Target="../tags/tag424.xml"/><Relationship Id="rId10" Type="http://schemas.openxmlformats.org/officeDocument/2006/relationships/tags" Target="../tags/tag377.xml"/><Relationship Id="rId31" Type="http://schemas.openxmlformats.org/officeDocument/2006/relationships/tags" Target="../tags/tag398.xml"/><Relationship Id="rId44" Type="http://schemas.openxmlformats.org/officeDocument/2006/relationships/tags" Target="../tags/tag411.xml"/><Relationship Id="rId52" Type="http://schemas.openxmlformats.org/officeDocument/2006/relationships/tags" Target="../tags/tag419.xml"/><Relationship Id="rId60" Type="http://schemas.openxmlformats.org/officeDocument/2006/relationships/tags" Target="../tags/tag427.xml"/><Relationship Id="rId65" Type="http://schemas.openxmlformats.org/officeDocument/2006/relationships/chart" Target="../charts/chart21.xml"/><Relationship Id="rId4" Type="http://schemas.openxmlformats.org/officeDocument/2006/relationships/tags" Target="../tags/tag371.xml"/><Relationship Id="rId9" Type="http://schemas.openxmlformats.org/officeDocument/2006/relationships/tags" Target="../tags/tag376.xml"/><Relationship Id="rId13" Type="http://schemas.openxmlformats.org/officeDocument/2006/relationships/tags" Target="../tags/tag380.xml"/><Relationship Id="rId18" Type="http://schemas.openxmlformats.org/officeDocument/2006/relationships/tags" Target="../tags/tag385.xml"/><Relationship Id="rId39" Type="http://schemas.openxmlformats.org/officeDocument/2006/relationships/tags" Target="../tags/tag40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69845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>
            <a:extLst>
              <a:ext uri="{FF2B5EF4-FFF2-40B4-BE49-F238E27FC236}">
                <a16:creationId xmlns:a16="http://schemas.microsoft.com/office/drawing/2014/main" id="{3099648D-7D48-414B-8E49-712CA1F297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2526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5" imgW="395" imgH="396" progId="TCLayout.ActiveDocument.1">
                  <p:embed/>
                </p:oleObj>
              </mc:Choice>
              <mc:Fallback>
                <p:oleObj name="think-cell Slide" r:id="rId105" imgW="395" imgH="396" progId="TCLayout.ActiveDocument.1">
                  <p:embed/>
                  <p:pic>
                    <p:nvPicPr>
                      <p:cNvPr id="45" name="Object 44" hidden="1">
                        <a:extLst>
                          <a:ext uri="{FF2B5EF4-FFF2-40B4-BE49-F238E27FC236}">
                            <a16:creationId xmlns:a16="http://schemas.microsoft.com/office/drawing/2014/main" id="{3099648D-7D48-414B-8E49-712CA1F297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B741A13-4F9B-4CEB-9613-F182955736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158" y="162413"/>
            <a:ext cx="10933350" cy="332399"/>
          </a:xfrm>
        </p:spPr>
        <p:txBody>
          <a:bodyPr vert="horz"/>
          <a:lstStyle/>
          <a:p>
            <a:r>
              <a:rPr lang="en-US" b="1" dirty="0">
                <a:solidFill>
                  <a:schemeClr val="bg1"/>
                </a:solidFill>
              </a:rPr>
              <a:t>Q1 FY24 : Sub-category wise sales composition (I/II)</a:t>
            </a:r>
            <a:endParaRPr lang="en-US" b="1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5139036-199D-479B-804F-0E27D4593D3D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2151063" y="2647950"/>
            <a:ext cx="43180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80ED94A-808F-465C-9250-8B6F00A85F8D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3305175" y="2368550"/>
            <a:ext cx="43180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4EC2E22-B212-4792-BA97-9DA453740A4F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4459288" y="2332038"/>
            <a:ext cx="43180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E70EDA2-EBFA-4E1A-95E8-C7DCC01EF081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5613400" y="2314575"/>
            <a:ext cx="43180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121B83-5E9F-4F5D-B7BC-A0487F8B95C5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6765925" y="2305050"/>
            <a:ext cx="43180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E2618-65AB-41C0-B971-F1465DA541AA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7920038" y="2298700"/>
            <a:ext cx="43180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422D8BA-70CE-4299-84C2-D12783E6F7A9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9074150" y="2295525"/>
            <a:ext cx="43180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D452A361-DAD3-4859-8F50-D6317F2E060B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10228263" y="2295525"/>
            <a:ext cx="43180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CC5E5D29-5BF5-4698-9704-F24A4C754637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8351838" y="2295526"/>
            <a:ext cx="722313" cy="3175"/>
          </a:xfrm>
          <a:prstGeom prst="rect">
            <a:avLst/>
          </a:prstGeom>
          <a:solidFill>
            <a:srgbClr val="2959A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1C95C8B-93E9-9C2A-6B99-2EF1D0DE693B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197725" y="2298700"/>
            <a:ext cx="722313" cy="6350"/>
          </a:xfrm>
          <a:prstGeom prst="rect">
            <a:avLst/>
          </a:prstGeom>
          <a:solidFill>
            <a:srgbClr val="2959A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033188C-2C84-87C2-9A54-616AB1AD3239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6045200" y="2305050"/>
            <a:ext cx="720725" cy="9525"/>
          </a:xfrm>
          <a:prstGeom prst="rect">
            <a:avLst/>
          </a:prstGeom>
          <a:solidFill>
            <a:srgbClr val="2959A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C12AC76-E93F-415C-848F-657476B68C84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9505950" y="2292350"/>
            <a:ext cx="722313" cy="6350"/>
          </a:xfrm>
          <a:prstGeom prst="rect">
            <a:avLst/>
          </a:prstGeom>
          <a:solidFill>
            <a:srgbClr val="2959A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05" name="Chart 104">
            <a:extLst>
              <a:ext uri="{FF2B5EF4-FFF2-40B4-BE49-F238E27FC236}">
                <a16:creationId xmlns:a16="http://schemas.microsoft.com/office/drawing/2014/main" id="{ADA9EC57-7E78-B0AC-3EEF-248819BECCFE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1708564"/>
              </p:ext>
            </p:extLst>
          </p:nvPr>
        </p:nvGraphicFramePr>
        <p:xfrm>
          <a:off x="1130300" y="1444625"/>
          <a:ext cx="10550525" cy="1700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7"/>
          </a:graphicData>
        </a:graphic>
      </p:graphicFrame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EE02A1D-624D-4106-A832-0137C3CC661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679949" y="3113088"/>
            <a:ext cx="11430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0F77E2-88F0-4396-B9E5-A70544914061}" type="datetime'''''''Ski''''''''''''d ''Steer'''''''' ''''L''''o''aders'''''">
              <a:rPr lang="en-US" altLang="en-US" sz="1200" smtClean="0"/>
              <a:pPr/>
              <a:t>Skid Steer Loaders</a:t>
            </a:fld>
            <a:endParaRPr lang="en-US" sz="1200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EC6DED0-A3FD-43B6-A5DD-2EA921B1D90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526213" y="2222500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945C07-9FE3-4CAC-8F1D-BF32F1469820}" type="datetime'''''''''''''''''''''''''''''3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3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088063" y="2227263"/>
            <a:ext cx="277813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861E67-5126-40CC-AC96-05DA9045F263}" type="datetime'''''''''''''''''2''''''''''''''''''3''''3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233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0C565D3-0C3D-4604-960C-9B7AAFB9511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943600" y="3113088"/>
            <a:ext cx="9255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C0B93D-8B7D-4618-86F9-5460E3DF032F}" type="datetime'M''o''to''''r'''' ''G''''rad''''''''e''r''''''''''''''''''s'''">
              <a:rPr lang="en-US" altLang="en-US" sz="1200" smtClean="0"/>
              <a:pPr/>
              <a:t>Motor Graders</a:t>
            </a:fld>
            <a:endParaRPr lang="en-US" sz="120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C0695D3C-76C7-49A1-816C-55A7A5A04A1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639050" y="2216150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DBF797-7500-46F0-A996-DE6B655CE48C}" type="datetime'''''4''''''''''''''''''''''''''''''''''''''''''''''''5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45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240588" y="2219325"/>
            <a:ext cx="277813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8DD174-979C-464E-B027-10FC89821DDB}" type="datetime'''''''''''''''''''1''''''''''''''''''0''''''5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05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E7AD315-E8AD-4790-B8BB-A6F1EA9A0E5E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991350" y="3113088"/>
            <a:ext cx="1133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4DE896-EE55-4224-B942-62A4183826D7}" type="datetime'''''O''''''f''''f'' Hi''gh''''''''way T''r''''''''uc''''k'">
              <a:rPr lang="en-US" altLang="en-US" sz="1200" smtClean="0"/>
              <a:pPr/>
              <a:t>Off Highway Truck</a:t>
            </a:fld>
            <a:endParaRPr lang="en-US" sz="1200" dirty="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88940C84-140A-4EC2-B72C-8C516C47277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832850" y="2212975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C0FF06-6BAD-496B-80EF-679D88A81BF1}" type="datetime'''0''''''''''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432800" y="2214563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CB5F70-A16B-4429-9396-7BE0D113AA67}" type="datetime'''''''''''93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93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C8FE4D8A-7A10-4023-BD3F-FDCA288D206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8382000" y="3113088"/>
            <a:ext cx="66198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F9028C-0DD9-47A1-B8CB-33D55B0844C0}" type="datetime'Trac''''k'''''''''' Ty''''''pe'' ''''''''''T''ractor''s'''">
              <a:rPr lang="en-US" altLang="en-US" sz="1200" smtClean="0"/>
              <a:pPr/>
              <a:t>Track Type Tractors</a:t>
            </a:fld>
            <a:endParaRPr lang="en-US" sz="1200" dirty="0"/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9986963" y="2212975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C1725F-F7C4-4AFF-9249-7EDBADBFB6FF}" type="datetime'''''''''''1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592263" y="2590800"/>
            <a:ext cx="393700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DBE6AC-63D7-423D-A2EB-E9EF782073D1}" type="datetime'1'''''''''''''''''''',29''''6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,296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9626600" y="2212975"/>
            <a:ext cx="122238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385CE1-8698-4739-9C88-D01F86EF00E7}" type="datetime'''''''''''''''''''''''''''''''''''''''''''''''''3'">
              <a:rPr lang="en-US" altLang="en-US" sz="1200" smtClean="0">
                <a:solidFill>
                  <a:schemeClr val="bg1"/>
                </a:solidFill>
                <a:effectLst/>
              </a:rPr>
              <a:pPr/>
              <a:t>3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E420BBD-5887-497F-B8C3-E0EF1AF5DABB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9652000" y="3113088"/>
            <a:ext cx="4302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3288F4-3280-4C74-80EC-8090BAA40649}" type="datetime'O''''t''''''''''''''''''''''he''''''''''''''''''r''''s'''">
              <a:rPr lang="en-US" altLang="en-US" sz="1200" smtClean="0"/>
              <a:pPr/>
              <a:t>Others</a:t>
            </a:fld>
            <a:endParaRPr lang="en-US" sz="120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0823575" y="1485900"/>
            <a:ext cx="393700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6731ACD-A82F-4A59-8445-E2FA588682E0}" type="datetime'''2'''''''',''''''''''''''''''''''''''''''''0''''''''''4''1'''">
              <a:rPr lang="en-US" altLang="en-US" sz="12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04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CBBCD2A6-D835-4C87-919C-B6273DD6F61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0864850" y="3113088"/>
            <a:ext cx="3111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E2ACCC-C735-4E1E-BF63-7DB154F966D8}" type="datetime'''''''''''''''''''''''T''''''''o''''''t''''''al'''''">
              <a:rPr lang="en-US" altLang="en-US" sz="1200" smtClean="0"/>
              <a:pPr/>
              <a:t>Total</a:t>
            </a:fld>
            <a:endParaRPr lang="en-US" sz="1200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E2B085B-93B8-4407-98AC-B3AC74DFDED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289050" y="3113088"/>
            <a:ext cx="10001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FAF4B9-27BC-4691-8F46-AB03CE6229E8}" type="datetime'B''''a''''''c''''kh''oe ''''''''''L''o''a''''''d''''e''''r'">
              <a:rPr lang="en-US" altLang="en-US" sz="1200" smtClean="0"/>
              <a:pPr/>
              <a:t>Backhoe Loader</a:t>
            </a:fld>
            <a:endParaRPr lang="en-US" sz="1200" dirty="0"/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986088" y="2293938"/>
            <a:ext cx="277813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F4EA5D-905B-470D-A84F-F9BF9867FE82}" type="datetime'''''''''''''4''''''''''''0''''''''''''''''''''''''9'">
              <a:rPr lang="en-US" altLang="en-US" sz="1200" smtClean="0">
                <a:solidFill>
                  <a:schemeClr val="bg1"/>
                </a:solidFill>
                <a:effectLst/>
              </a:rPr>
              <a:pPr/>
              <a:t>409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A439991-2ABE-4553-A1BB-1328E3644D07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611438" y="3113088"/>
            <a:ext cx="6635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81AB54-906D-47B9-B397-42E6B867C339}" type="datetime'''''Cr''''''aw''l''''e''r'' ''E''''x''c''''''''a''vators'">
              <a:rPr lang="en-US" altLang="en-US" sz="1200" smtClean="0"/>
              <a:pPr/>
              <a:t>Crawler Excavators</a:t>
            </a:fld>
            <a:endParaRPr lang="en-US" sz="1200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71620E4E-8C4B-471E-B59B-BD6D0B3FCCA9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217988" y="2249488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2DFD97-7100-4209-9082-EDA14AB57E13}" type="datetime'''''''''''''''''''''''''''''''''6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6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3779838" y="2266950"/>
            <a:ext cx="277813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E9CB34-D5B6-4B25-8872-F2296769F7C5}" type="datetime'''''''''''''''89''''''''6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896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119DF8F-E5F7-453D-B9D0-B482D0EE00E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632200" y="3113088"/>
            <a:ext cx="9318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C5B680-D3E8-48F5-A425-83736471BF4E}" type="datetime'''''''W''heel'' L''o''''''''''''a''''''''''''''''ders'''">
              <a:rPr lang="en-US" altLang="en-US" sz="1200" smtClean="0"/>
              <a:pPr/>
              <a:t>Wheel Loaders</a:t>
            </a:fld>
            <a:endParaRPr lang="en-US" sz="120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EC4FAA53-9CCB-4609-AAE8-5DE14574A4DF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294313" y="2236788"/>
            <a:ext cx="277813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5C7FBC-EAF0-4436-8842-6B3ABC814BA9}" type="datetime'''''''2''''''''''''''''''''''8''''''''1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28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933950" y="2246313"/>
            <a:ext cx="277813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45B60D-48C7-4C54-8911-51A586AF692E}" type="datetime'''''''''''''1''''''''''''''''''''''''''''3''8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38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1554163" y="2425700"/>
            <a:ext cx="471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FE2131-DCDA-421C-9262-EEDE369D4BBE}" type="datetime'1''0'''''''',''''''''''''''''1''''''''''''''''61'''''''''''">
              <a:rPr lang="en-US" altLang="en-US" sz="1200" smtClean="0"/>
              <a:pPr/>
              <a:t>10,161</a:t>
            </a:fld>
            <a:endParaRPr lang="en-US" sz="1200" dirty="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2746375" y="2128838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766AE2-7050-4718-A094-B2C1C892A827}" type="datetime'''''6'''''''',''''''''''''''''8''''6''''''6'''''''''''">
              <a:rPr lang="en-US" altLang="en-US" sz="1200" smtClean="0"/>
              <a:pPr/>
              <a:t>6,866</a:t>
            </a:fld>
            <a:endParaRPr lang="en-US" sz="1200" dirty="0"/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3959225" y="2084388"/>
            <a:ext cx="277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AAF898-3B70-4886-8510-E79156026594}" type="datetime'902'''''''''''''''''''''''''''''''''''''''''''''''''''''">
              <a:rPr lang="en-US" altLang="en-US" sz="1200" smtClean="0"/>
              <a:pPr/>
              <a:t>902</a:t>
            </a:fld>
            <a:endParaRPr lang="en-US" sz="1200" dirty="0"/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5113338" y="2071688"/>
            <a:ext cx="277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488CF59-6BFC-4A2F-A0DF-F45D8A99341B}" type="datetime'''4''''1''''''''''9'''''''''''''''''''''''''''''''''''''''">
              <a:rPr lang="en-US" altLang="en-US" sz="1200" smtClean="0"/>
              <a:pPr/>
              <a:t>419</a:t>
            </a:fld>
            <a:endParaRPr lang="en-US" sz="1200" dirty="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267450" y="2057400"/>
            <a:ext cx="277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9EF708-5BF1-4E96-9B5C-7D2195722920}" type="datetime'''2''''3''''''''''''''''''''''''''6'''''''''''''">
              <a:rPr lang="en-US" altLang="en-US" sz="1200" smtClean="0"/>
              <a:pPr/>
              <a:t>236</a:t>
            </a:fld>
            <a:endParaRPr lang="en-US" sz="1200" dirty="0"/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7419975" y="2051050"/>
            <a:ext cx="277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07F18B-D015-4DA2-A4FE-7209CF3D5166}" type="datetime'''''''''''''''''''''1''''''5''''''''0'''''''''''''''''''''">
              <a:rPr lang="en-US" altLang="en-US" sz="1200" smtClean="0"/>
              <a:pPr/>
              <a:t>150</a:t>
            </a:fld>
            <a:endParaRPr lang="en-US" sz="1200" dirty="0"/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8612188" y="2047875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1BDB97-FDEE-4001-9DA7-87CC89B22290}" type="datetime'''''9''''''''3'''''''''''''''''''">
              <a:rPr lang="en-US" altLang="en-US" sz="1200" smtClean="0"/>
              <a:pPr/>
              <a:t>93</a:t>
            </a:fld>
            <a:endParaRPr lang="en-US" sz="1200" dirty="0"/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9805988" y="2047875"/>
            <a:ext cx="122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E62D4A-C10A-493D-8F3A-E9F1D9395C74}" type="datetime'''''''''''''''''''4'''''''''''''">
              <a:rPr lang="en-US" altLang="en-US" sz="1200" smtClean="0"/>
              <a:pPr/>
              <a:t>4</a:t>
            </a:fld>
            <a:endParaRPr lang="en-US" sz="1200" dirty="0"/>
          </a:p>
        </p:txBody>
      </p:sp>
      <p:sp>
        <p:nvSpPr>
          <p:cNvPr id="17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10785475" y="1320800"/>
            <a:ext cx="471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C65E75-EAD5-4123-9335-09A1A62C71D9}" type="datetime'''''''''''''''''''''''''''''1''8'',83''''''''1'''''''''''''">
              <a:rPr lang="en-US" altLang="en-US" sz="1200" smtClean="0"/>
              <a:pPr/>
              <a:t>18,831</a:t>
            </a:fld>
            <a:endParaRPr lang="en-US" sz="1200" dirty="0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416C79F-5C07-486B-B61F-F5879D2FF1F2}"/>
              </a:ext>
            </a:extLst>
          </p:cNvPr>
          <p:cNvCxnSpPr/>
          <p:nvPr>
            <p:custDataLst>
              <p:tags r:id="rId48"/>
            </p:custDataLst>
          </p:nvPr>
        </p:nvCxnSpPr>
        <p:spPr bwMode="gray">
          <a:xfrm>
            <a:off x="2019301" y="4927600"/>
            <a:ext cx="385763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2D83310-F1B2-4D1C-A690-E949EF2EB62A}"/>
              </a:ext>
            </a:extLst>
          </p:cNvPr>
          <p:cNvCxnSpPr/>
          <p:nvPr>
            <p:custDataLst>
              <p:tags r:id="rId49"/>
            </p:custDataLst>
          </p:nvPr>
        </p:nvCxnSpPr>
        <p:spPr bwMode="gray">
          <a:xfrm>
            <a:off x="3051175" y="4892675"/>
            <a:ext cx="38735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1727F57-DC63-4704-96F3-9DB66FBCD6D5}"/>
              </a:ext>
            </a:extLst>
          </p:cNvPr>
          <p:cNvCxnSpPr/>
          <p:nvPr>
            <p:custDataLst>
              <p:tags r:id="rId50"/>
            </p:custDataLst>
          </p:nvPr>
        </p:nvCxnSpPr>
        <p:spPr bwMode="gray">
          <a:xfrm>
            <a:off x="4084639" y="4868863"/>
            <a:ext cx="385763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2B1EC5F-576F-4EB6-8CA1-0D22652BAA56}"/>
              </a:ext>
            </a:extLst>
          </p:cNvPr>
          <p:cNvCxnSpPr/>
          <p:nvPr>
            <p:custDataLst>
              <p:tags r:id="rId51"/>
            </p:custDataLst>
          </p:nvPr>
        </p:nvCxnSpPr>
        <p:spPr bwMode="gray">
          <a:xfrm>
            <a:off x="5116514" y="4852988"/>
            <a:ext cx="385763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928BA48-4C79-4066-A272-0BF0BAE20A24}"/>
              </a:ext>
            </a:extLst>
          </p:cNvPr>
          <p:cNvCxnSpPr/>
          <p:nvPr>
            <p:custDataLst>
              <p:tags r:id="rId52"/>
            </p:custDataLst>
          </p:nvPr>
        </p:nvCxnSpPr>
        <p:spPr bwMode="gray">
          <a:xfrm>
            <a:off x="6148389" y="4824413"/>
            <a:ext cx="385763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BF96F10-B644-4D86-A1A2-D6009C562FD8}"/>
              </a:ext>
            </a:extLst>
          </p:cNvPr>
          <p:cNvCxnSpPr/>
          <p:nvPr>
            <p:custDataLst>
              <p:tags r:id="rId53"/>
            </p:custDataLst>
          </p:nvPr>
        </p:nvCxnSpPr>
        <p:spPr bwMode="gray">
          <a:xfrm>
            <a:off x="7180264" y="4819650"/>
            <a:ext cx="385763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0F2CA12-4EF5-4CE2-A5DB-840D62BE2B0D}"/>
              </a:ext>
            </a:extLst>
          </p:cNvPr>
          <p:cNvCxnSpPr/>
          <p:nvPr>
            <p:custDataLst>
              <p:tags r:id="rId54"/>
            </p:custDataLst>
          </p:nvPr>
        </p:nvCxnSpPr>
        <p:spPr bwMode="gray">
          <a:xfrm>
            <a:off x="8212138" y="4816475"/>
            <a:ext cx="38735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F86A440F-7470-407C-BEC4-B532BE089870}"/>
              </a:ext>
            </a:extLst>
          </p:cNvPr>
          <p:cNvCxnSpPr/>
          <p:nvPr>
            <p:custDataLst>
              <p:tags r:id="rId55"/>
            </p:custDataLst>
          </p:nvPr>
        </p:nvCxnSpPr>
        <p:spPr bwMode="gray">
          <a:xfrm>
            <a:off x="9245601" y="4813300"/>
            <a:ext cx="385763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651BEDEF-06BC-34BC-4D76-9AD936A483D0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10277476" y="4811713"/>
            <a:ext cx="38576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7" name="Rectangle 126">
            <a:extLst>
              <a:ext uri="{FF2B5EF4-FFF2-40B4-BE49-F238E27FC236}">
                <a16:creationId xmlns:a16="http://schemas.microsoft.com/office/drawing/2014/main" id="{FC7D53AD-C2B6-49C5-BB9C-9E9D38F69EF5}"/>
              </a:ext>
            </a:extLst>
          </p:cNvPr>
          <p:cNvSpPr/>
          <p:nvPr>
            <p:custDataLst>
              <p:tags r:id="rId57"/>
            </p:custDataLst>
          </p:nvPr>
        </p:nvSpPr>
        <p:spPr bwMode="gray">
          <a:xfrm>
            <a:off x="8599488" y="4813300"/>
            <a:ext cx="646113" cy="3175"/>
          </a:xfrm>
          <a:prstGeom prst="rect">
            <a:avLst/>
          </a:prstGeom>
          <a:solidFill>
            <a:srgbClr val="2959A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E775FF7E-2041-DD3F-C822-56A41FC931B3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6534150" y="4819650"/>
            <a:ext cx="646113" cy="4763"/>
          </a:xfrm>
          <a:prstGeom prst="rect">
            <a:avLst/>
          </a:prstGeom>
          <a:solidFill>
            <a:srgbClr val="2959A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1ABCEC04-1655-4137-A3EC-10F333A4463A}"/>
              </a:ext>
            </a:extLst>
          </p:cNvPr>
          <p:cNvSpPr/>
          <p:nvPr>
            <p:custDataLst>
              <p:tags r:id="rId59"/>
            </p:custDataLst>
          </p:nvPr>
        </p:nvSpPr>
        <p:spPr bwMode="gray">
          <a:xfrm>
            <a:off x="7566025" y="4816475"/>
            <a:ext cx="646113" cy="3175"/>
          </a:xfrm>
          <a:prstGeom prst="rect">
            <a:avLst/>
          </a:prstGeom>
          <a:solidFill>
            <a:srgbClr val="2959A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2284EABF-1EF1-2160-6714-8CEEFB4500C4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9631363" y="4811713"/>
            <a:ext cx="646113" cy="1587"/>
          </a:xfrm>
          <a:prstGeom prst="rect">
            <a:avLst/>
          </a:prstGeom>
          <a:solidFill>
            <a:srgbClr val="2959A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6" name="Chart 45">
            <a:extLst>
              <a:ext uri="{FF2B5EF4-FFF2-40B4-BE49-F238E27FC236}">
                <a16:creationId xmlns:a16="http://schemas.microsoft.com/office/drawing/2014/main" id="{AF8498D2-E0E5-8E97-51D8-49C89B9828C4}"/>
              </a:ext>
            </a:extLst>
          </p:cNvPr>
          <p:cNvGraphicFramePr/>
          <p:nvPr>
            <p:custDataLst>
              <p:tags r:id="rId61"/>
            </p:custDataLst>
            <p:extLst>
              <p:ext uri="{D42A27DB-BD31-4B8C-83A1-F6EECF244321}">
                <p14:modId xmlns:p14="http://schemas.microsoft.com/office/powerpoint/2010/main" val="2750345706"/>
              </p:ext>
            </p:extLst>
          </p:nvPr>
        </p:nvGraphicFramePr>
        <p:xfrm>
          <a:off x="1098550" y="4067175"/>
          <a:ext cx="10487025" cy="1489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8"/>
          </a:graphicData>
        </a:graphic>
      </p:graphicFrame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D573AD8F-A10D-432B-8911-06BB895A5E46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4394200" y="5524500"/>
            <a:ext cx="7985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9C426E-F160-4C92-91C6-605D86C13F2A}" type="datetime'Truck'''''''''' ''''''''Cr''''''''a''''''n''e''s'''''''">
              <a:rPr lang="en-US" altLang="en-US" sz="1200" smtClean="0"/>
              <a:pPr/>
              <a:t>Truck Cranes</a:t>
            </a:fld>
            <a:endParaRPr lang="en-US" sz="1200" dirty="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A499C3EB-57C1-43ED-B155-9488AA6DF995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5926138" y="4741863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F17A63-F218-4921-9208-274A36B2C52E}" type="datetime'''''''''''''''''''''''0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5526088" y="4756150"/>
            <a:ext cx="277813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A5F9FF-5DC8-4826-BA06-A5EFE097839F}" type="datetime'''''''''''''''1''5''1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5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F33A6CCB-E2B4-4DBC-9271-4C0CCB4C54D8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5449888" y="5524500"/>
            <a:ext cx="7493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143813-747B-4E3D-AE57-D7DE4354CFF2}" type="datetime'F''ix''''e''d T''''o''''''''wer ''''''C''r''a''''n''''e''s'''">
              <a:rPr lang="en-US" altLang="en-US" sz="1200" smtClean="0"/>
              <a:pPr/>
              <a:t>Fixed Tower Cranes</a:t>
            </a:fld>
            <a:endParaRPr lang="en-US" sz="1200" dirty="0"/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E2280B60-4C4F-4DFA-B9BE-78FBE467D948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6958013" y="4737100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CD6FB5-14CE-4449-9BB3-173A3C340463}" type="datetime'''''''''''''''''''''''''''''''''''''''3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3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6596063" y="4738688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5A3227-D37C-44D7-906E-41C7E16AC6CA}" type="datetime'''2''''''''''9''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29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E73763D1-DC89-4C8A-A72C-17D54C67E7CB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6434138" y="5524500"/>
            <a:ext cx="8445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023A7E-F8DE-4178-9924-7D8ABD5FACCD}" type="datetime'''Mo''''''''b''i''''le To''''''we''''r ''''''Cra''n''e''s'">
              <a:rPr lang="en-US" altLang="en-US" sz="1200" smtClean="0"/>
              <a:pPr/>
              <a:t>Mobile Tower Cranes</a:t>
            </a:fld>
            <a:endParaRPr lang="en-US" sz="1200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F42B8D1D-C030-4F20-9853-26FF38B4C00C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7989888" y="4733925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03448E-9F86-4CF5-A921-58C9792B2B7E}" type="datetime'''''''''''''''''''''''''''''''''0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1A60ED3-2F51-4E40-9C87-6DCE53B08778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7572375" y="5524500"/>
            <a:ext cx="63341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1F1E43-DAF4-49D4-B91E-AF111434A998}" type="datetime'A''l''l'''' T''e''''''rrain'' C''''r''an''''''''''''''''es'''">
              <a:rPr lang="en-US" altLang="en-US" sz="1200" smtClean="0"/>
              <a:pPr/>
              <a:t>All Terrain Cranes</a:t>
            </a:fld>
            <a:endParaRPr lang="en-US" sz="1200" dirty="0"/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9023350" y="4730750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A21CFB-7FF0-46B4-919E-F2B10BB7F71D}" type="datetime'''''''''''''''''''''''''0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8661400" y="4732338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BF71A1-2B71-47DB-ADD0-8293AFDD0B5B}" type="datetime'''''''''15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5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407D183E-7CAE-43D4-8192-1F4FC4498C72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8458200" y="5524500"/>
            <a:ext cx="9286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922861-93C4-4141-9373-4F3AA72B0DCB}" type="datetime'''''R''''''''each S''ta''c''''''''k''e''rs'''''''''''''''''''">
              <a:rPr lang="en-US" altLang="en-US" sz="1200" smtClean="0"/>
              <a:pPr/>
              <a:t>Reach Stackers</a:t>
            </a:fld>
            <a:endParaRPr lang="en-US" sz="1200" dirty="0"/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3462338" y="4797425"/>
            <a:ext cx="277813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13CB08-F51B-4DF8-B22A-DF4F09E87680}" type="datetime'1''''2''''''''''''''''''''''''''''''''''''''''''''''''''''6'">
              <a:rPr lang="en-US" altLang="en-US" sz="1200" smtClean="0">
                <a:solidFill>
                  <a:schemeClr val="bg1"/>
                </a:solidFill>
                <a:effectLst/>
              </a:rPr>
              <a:pPr/>
              <a:t>126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1595438" y="4846638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E5B1A4-F3F5-472E-9937-2B8D46D4D102}" type="datetime'''''''''''''''''''''''''''''2''''''''''''''''''7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27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9732963" y="4729163"/>
            <a:ext cx="122238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5157BCA-7550-4ED3-A7EC-8CD9BD6EEB55}" type="datetime'''''''7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B1F1E423-564A-41B7-86FB-E728C79CD2FF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9739313" y="5524500"/>
            <a:ext cx="4302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7D5F9E-9B88-4C2D-BB75-B0B0E4DF2EA1}" type="datetime'''''''''Ot''''he''''r''''''''''s'''''''''''''''''">
              <a:rPr lang="en-US" altLang="en-US" sz="1200" smtClean="0"/>
              <a:pPr/>
              <a:t>Others</a:t>
            </a:fld>
            <a:endParaRPr lang="en-US" sz="1200" dirty="0"/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C759EB5F-C042-1500-11D3-F1411EA358D3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10885488" y="4075113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9BB390-BF11-42CB-9E83-4219425D434F}" type="datetime'''''''''''''''9''''''''''''''''''9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99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7ECF14F1-1A33-C0DB-63BF-2B019E2741C7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10829925" y="5524500"/>
            <a:ext cx="3111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FF35B1-1765-47CF-9E25-3996307596E7}" type="datetime'T''o''''''''t''''a''''''''''''''''l'''''''''''''''''''''''''''">
              <a:rPr lang="en-US" altLang="en-US" sz="1200" smtClean="0"/>
              <a:pPr/>
              <a:t>Total</a:t>
            </a:fld>
            <a:endParaRPr lang="en-US" sz="1200" dirty="0"/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10055225" y="4729163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6AE9CC-92E9-4750-847F-93946ADB602F}" type="datetime'''''''''''''''''''''''''''''''''''''''''0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1CADE8D-0D55-4D32-AFDE-6583FDB15ED9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1314450" y="5524500"/>
            <a:ext cx="7620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EDAE8A-D4D6-450E-8F86-374C91417548}" type="datetime'''''Pic''''k an''d c''ar''''''''ry cr''''''a''ne''''''s'''''''">
              <a:rPr lang="en-US" altLang="en-US" sz="1200" smtClean="0"/>
              <a:pPr/>
              <a:t>Pick and carry cranes</a:t>
            </a:fld>
            <a:endParaRPr lang="en-US" sz="1200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48F53CCA-A1D8-432C-A6A9-D2653D2B295D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2789238" y="4816475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5DA127-B3E5-4C6D-8AE8-F1D8B6EBC267}" type="datetime'''''''''6''''''''''''8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68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2428875" y="4833938"/>
            <a:ext cx="277813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E8F911-84E5-44DA-8F0E-1EFCE834B118}" type="datetime'''1''''''''''''''''''''25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25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184BF708-1CF1-4D62-B863-2FF6FDA4FF78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2305050" y="5524500"/>
            <a:ext cx="8445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3FBE4F-B207-46AA-97D3-7B9B46C19AC0}" type="datetime'''T''''ele'''' Ha''n''''d''''''''''''''l''''er''''''''''s'">
              <a:rPr lang="en-US" altLang="en-US" sz="1200" smtClean="0"/>
              <a:pPr/>
              <a:t>Tele Handlers</a:t>
            </a:fld>
            <a:endParaRPr lang="en-US" sz="1200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D0B481D3-8F4D-4589-87E4-616E9FDC2070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3862388" y="4786313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0C373C-7150-4BFB-B186-14A56AC8D25A}" type="datetime'''''''0'">
              <a:rPr lang="en-US" altLang="en-US" sz="1200" smtClean="0">
                <a:solidFill>
                  <a:schemeClr val="bg1"/>
                </a:solidFill>
                <a:effectLst/>
              </a:rPr>
              <a:pPr/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94BE8279-3058-4C79-A722-7BD34A944670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3290888" y="5524500"/>
            <a:ext cx="9413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6F1732-EC46-4E5F-B32B-45325CA2AFB9}" type="datetime'Cr''aw''''''''''le''''r ''Cr''an''e''''''s'''''''''''''''">
              <a:rPr lang="en-US" altLang="en-US" sz="1200" smtClean="0"/>
              <a:pPr/>
              <a:t>Crawler Cranes</a:t>
            </a:fld>
            <a:endParaRPr lang="en-US" sz="1200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466E1128-DB4A-4A6D-B72E-99C598C66DF0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4894263" y="4770438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48173F-B8CC-4CEE-8752-58E29C700D78}" type="datetime'''''''''''''''1''''''''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4532313" y="4778375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049FB5-8275-4B35-AB1B-C5E0C5D34CE1}" type="datetime'''''''''8''''''6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86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5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1498600" y="4681538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D003E0-2FFB-4754-8A82-D583213CC0B3}" type="datetime'2'''''',''''9''6''''''''''''''''''6'''''''''''''''''''''''">
              <a:rPr lang="en-US" altLang="en-US" sz="1200" smtClean="0"/>
              <a:pPr/>
              <a:t>2,966</a:t>
            </a:fld>
            <a:endParaRPr lang="en-US" sz="1200" dirty="0"/>
          </a:p>
        </p:txBody>
      </p:sp>
      <p:sp>
        <p:nvSpPr>
          <p:cNvPr id="15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2589213" y="4651375"/>
            <a:ext cx="277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02ED57-1259-454C-936A-09E505009A71}" type="datetime'1''''''''''''''''''''''9''''''''''3'">
              <a:rPr lang="en-US" altLang="en-US" sz="1200" smtClean="0"/>
              <a:pPr/>
              <a:t>193</a:t>
            </a:fld>
            <a:endParaRPr lang="en-US" sz="1200" dirty="0"/>
          </a:p>
        </p:txBody>
      </p:sp>
      <p:sp>
        <p:nvSpPr>
          <p:cNvPr id="15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3622675" y="4621213"/>
            <a:ext cx="277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65E4F8-B496-4010-9B5E-ABE2C8E6DD1F}" type="datetime'1''''''''''''''''''''2''''6'''''''''''''''''''">
              <a:rPr lang="en-US" altLang="en-US" sz="1200" smtClean="0"/>
              <a:pPr/>
              <a:t>126</a:t>
            </a:fld>
            <a:endParaRPr lang="en-US" sz="1200" dirty="0"/>
          </a:p>
        </p:txBody>
      </p:sp>
      <p:sp>
        <p:nvSpPr>
          <p:cNvPr id="15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4692650" y="4605338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A5B8F1-C1DA-4ED3-BD33-C55650E2DCCE}" type="datetime'''''''8''''''''''''''''''''''''''7'''''''''''''''''''''''''">
              <a:rPr lang="en-US" altLang="en-US" sz="1200" smtClean="0"/>
              <a:pPr/>
              <a:t>87</a:t>
            </a:fld>
            <a:endParaRPr lang="en-US" sz="1200" dirty="0"/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7627938" y="4735513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B2D1FA-0933-4726-863C-C4ADB934AD13}" type="datetime'''''''''''''''''''''1''''9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9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6756400" y="4572000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9D21A7-ACC6-46CC-B0C4-FFBE750C4AE4}" type="datetime'''''''''''''''''''''''''''''''''''''3''''''2'''''''''''">
              <a:rPr lang="en-US" altLang="en-US" sz="1200" smtClean="0"/>
              <a:pPr/>
              <a:t>32</a:t>
            </a:fld>
            <a:endParaRPr lang="en-US" sz="1200" dirty="0"/>
          </a:p>
        </p:txBody>
      </p:sp>
      <p:sp>
        <p:nvSpPr>
          <p:cNvPr id="15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7788275" y="4568825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A68152-036C-4C8B-B91C-7758CBB6288F}" type="datetime'''''''''''''''''''''''''''''1''''9'''''''''''">
              <a:rPr lang="en-US" altLang="en-US" sz="1200" smtClean="0"/>
              <a:pPr/>
              <a:t>19</a:t>
            </a:fld>
            <a:endParaRPr lang="en-US" sz="1200" dirty="0"/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8821738" y="4565650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C110BC-5019-4948-99C6-F449823F1428}" type="datetime'''''''''''''1''''''''''''''''''''''''5'''''''''''''''">
              <a:rPr lang="en-US" altLang="en-US" sz="1200" smtClean="0"/>
              <a:pPr/>
              <a:t>15</a:t>
            </a:fld>
            <a:endParaRPr lang="en-US" sz="1200" dirty="0"/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9893300" y="4564063"/>
            <a:ext cx="122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625B16-B221-48B0-BBC8-0D210DC57BDF}" type="datetime'''''''''''''''''''''''''''''''''''''''''''''''''7'''''''''''''">
              <a:rPr lang="en-US" altLang="en-US" sz="1200" smtClean="0"/>
              <a:pPr/>
              <a:t>7</a:t>
            </a:fld>
            <a:endParaRPr lang="en-US" sz="1200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57F5DCF1-F1B6-D859-CB1A-D05D88E450C1}"/>
              </a:ext>
            </a:extLst>
          </p:cNvPr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10788650" y="3910013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D77D77-6D75-4852-B0D6-677F5313D3E4}" type="datetime'''''''''''''''3'''''''''''''''',''''''''5''''96'''''''''''">
              <a:rPr lang="en-US" altLang="en-US" sz="1200" smtClean="0"/>
              <a:pPr/>
              <a:t>3,596</a:t>
            </a:fld>
            <a:endParaRPr lang="en-US" sz="1200" dirty="0"/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5686425" y="4576763"/>
            <a:ext cx="277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672C8A-A8C5-4A4E-A78F-C072D54E832E}" type="datetime'''''1''''''''''''''''5''''''''''''''''1'''">
              <a:rPr lang="en-US" altLang="en-US" sz="1200" smtClean="0"/>
              <a:pPr/>
              <a:t>151</a:t>
            </a:fld>
            <a:endParaRPr lang="en-US" sz="1200" dirty="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017FED5-521B-4C04-BACD-99E61634E0DA}"/>
              </a:ext>
            </a:extLst>
          </p:cNvPr>
          <p:cNvSpPr/>
          <p:nvPr/>
        </p:nvSpPr>
        <p:spPr>
          <a:xfrm>
            <a:off x="404018" y="1583778"/>
            <a:ext cx="468313" cy="1606550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CCAD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1E50A0"/>
                </a:solidFill>
              </a:rPr>
              <a:t>Earthmoving Equipment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F0C3B3D5-0A1F-46CE-A0CD-1F60DAC81548}"/>
              </a:ext>
            </a:extLst>
          </p:cNvPr>
          <p:cNvCxnSpPr>
            <a:cxnSpLocks/>
          </p:cNvCxnSpPr>
          <p:nvPr/>
        </p:nvCxnSpPr>
        <p:spPr>
          <a:xfrm flipV="1">
            <a:off x="251094" y="3774807"/>
            <a:ext cx="11346914" cy="102701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>
            <a:extLst>
              <a:ext uri="{FF2B5EF4-FFF2-40B4-BE49-F238E27FC236}">
                <a16:creationId xmlns:a16="http://schemas.microsoft.com/office/drawing/2014/main" id="{0123701D-2812-4558-85CA-D13A206E249C}"/>
              </a:ext>
            </a:extLst>
          </p:cNvPr>
          <p:cNvSpPr/>
          <p:nvPr/>
        </p:nvSpPr>
        <p:spPr>
          <a:xfrm>
            <a:off x="427037" y="4149299"/>
            <a:ext cx="468313" cy="1606550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CCAD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1E50A0"/>
                </a:solidFill>
              </a:rPr>
              <a:t>Material Handling Equipment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55CF00D8-741C-4832-A286-01B1A89E8A6D}"/>
              </a:ext>
            </a:extLst>
          </p:cNvPr>
          <p:cNvSpPr/>
          <p:nvPr/>
        </p:nvSpPr>
        <p:spPr>
          <a:xfrm>
            <a:off x="1354371" y="3439647"/>
            <a:ext cx="842784" cy="26912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54%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1BA2E019-933A-496E-B805-3E9DEDC71A6C}"/>
              </a:ext>
            </a:extLst>
          </p:cNvPr>
          <p:cNvSpPr/>
          <p:nvPr/>
        </p:nvSpPr>
        <p:spPr>
          <a:xfrm>
            <a:off x="2490860" y="3439647"/>
            <a:ext cx="842784" cy="26912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36%</a:t>
            </a: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AC466D32-6051-4E23-A766-E7678B811F1B}"/>
              </a:ext>
            </a:extLst>
          </p:cNvPr>
          <p:cNvSpPr/>
          <p:nvPr/>
        </p:nvSpPr>
        <p:spPr>
          <a:xfrm>
            <a:off x="3620285" y="3439647"/>
            <a:ext cx="842784" cy="26912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5%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C03E339E-2023-4C5C-8B04-0E159722978B}"/>
              </a:ext>
            </a:extLst>
          </p:cNvPr>
          <p:cNvSpPr/>
          <p:nvPr/>
        </p:nvSpPr>
        <p:spPr>
          <a:xfrm>
            <a:off x="4766559" y="3439647"/>
            <a:ext cx="842784" cy="26912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2%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AACA9244-26A1-4B0B-8877-7E39EEABCA7D}"/>
              </a:ext>
            </a:extLst>
          </p:cNvPr>
          <p:cNvSpPr/>
          <p:nvPr/>
        </p:nvSpPr>
        <p:spPr>
          <a:xfrm>
            <a:off x="5903048" y="3439647"/>
            <a:ext cx="842784" cy="26912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1%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161BE7A5-46DC-4680-AE3D-67FA7F4BAE87}"/>
              </a:ext>
            </a:extLst>
          </p:cNvPr>
          <p:cNvSpPr/>
          <p:nvPr/>
        </p:nvSpPr>
        <p:spPr>
          <a:xfrm>
            <a:off x="7010793" y="3439647"/>
            <a:ext cx="842784" cy="26912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1%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2F96C51F-859B-4C70-821C-EB103109DE49}"/>
              </a:ext>
            </a:extLst>
          </p:cNvPr>
          <p:cNvSpPr/>
          <p:nvPr/>
        </p:nvSpPr>
        <p:spPr>
          <a:xfrm>
            <a:off x="1354371" y="5981549"/>
            <a:ext cx="842784" cy="26912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82%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F664BA80-A510-4EEE-9224-D70CE5643440}"/>
              </a:ext>
            </a:extLst>
          </p:cNvPr>
          <p:cNvSpPr/>
          <p:nvPr/>
        </p:nvSpPr>
        <p:spPr>
          <a:xfrm>
            <a:off x="2324983" y="5981549"/>
            <a:ext cx="842784" cy="26912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5%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56E88D53-DCC7-435A-AA87-4FCA00C153A4}"/>
              </a:ext>
            </a:extLst>
          </p:cNvPr>
          <p:cNvSpPr/>
          <p:nvPr/>
        </p:nvSpPr>
        <p:spPr>
          <a:xfrm>
            <a:off x="3358446" y="5999561"/>
            <a:ext cx="842784" cy="26912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4%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244E7B64-4FF4-4EAB-BB12-FB1FE014C61D}"/>
              </a:ext>
            </a:extLst>
          </p:cNvPr>
          <p:cNvSpPr/>
          <p:nvPr/>
        </p:nvSpPr>
        <p:spPr>
          <a:xfrm>
            <a:off x="4310946" y="5998710"/>
            <a:ext cx="842784" cy="26912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2%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8D09D653-F303-4329-8CC9-16E9B86E8688}"/>
              </a:ext>
            </a:extLst>
          </p:cNvPr>
          <p:cNvSpPr/>
          <p:nvPr/>
        </p:nvSpPr>
        <p:spPr>
          <a:xfrm>
            <a:off x="5401557" y="5990319"/>
            <a:ext cx="842784" cy="26912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4%</a:t>
            </a: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06EF7DDC-147F-462B-AE61-A2215849045E}"/>
              </a:ext>
            </a:extLst>
          </p:cNvPr>
          <p:cNvSpPr/>
          <p:nvPr/>
        </p:nvSpPr>
        <p:spPr>
          <a:xfrm>
            <a:off x="6454248" y="5981549"/>
            <a:ext cx="842784" cy="26912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1%</a:t>
            </a:r>
          </a:p>
        </p:txBody>
      </p:sp>
      <p:sp>
        <p:nvSpPr>
          <p:cNvPr id="68" name="ee4pFootnotes">
            <a:extLst>
              <a:ext uri="{FF2B5EF4-FFF2-40B4-BE49-F238E27FC236}">
                <a16:creationId xmlns:a16="http://schemas.microsoft.com/office/drawing/2014/main" id="{7B313214-98F5-46E9-AF00-C13522ED18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325" y="6516185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sym typeface="Trebuchet MS" panose="020B0603020202020204" pitchFamily="34" charset="0"/>
              </a:rPr>
              <a:t>Source: ICEMA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B1D66EF3-6C32-473A-95E6-F2948EC8788F}"/>
              </a:ext>
            </a:extLst>
          </p:cNvPr>
          <p:cNvSpPr txBox="1"/>
          <p:nvPr/>
        </p:nvSpPr>
        <p:spPr>
          <a:xfrm>
            <a:off x="677816" y="1090077"/>
            <a:ext cx="904968" cy="1682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sym typeface="Trebuchet MS" panose="020B0603020202020204" pitchFamily="34" charset="0"/>
              </a:rPr>
              <a:t>Units sold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9D26B1D2-62C4-4582-88E2-94168A14DA39}"/>
              </a:ext>
            </a:extLst>
          </p:cNvPr>
          <p:cNvSpPr/>
          <p:nvPr/>
        </p:nvSpPr>
        <p:spPr>
          <a:xfrm>
            <a:off x="11063288" y="3457654"/>
            <a:ext cx="103094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400" b="1" dirty="0">
                <a:solidFill>
                  <a:srgbClr val="1E50A0"/>
                </a:solidFill>
                <a:sym typeface="Trebuchet MS" panose="020B0603020202020204" pitchFamily="34" charset="0"/>
              </a:rPr>
              <a:t>% sales share 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8367B596-0F13-4EB5-85BE-BD92D7E71FC9}"/>
              </a:ext>
            </a:extLst>
          </p:cNvPr>
          <p:cNvSpPr/>
          <p:nvPr/>
        </p:nvSpPr>
        <p:spPr>
          <a:xfrm>
            <a:off x="10956836" y="6008390"/>
            <a:ext cx="1368602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400" b="1" dirty="0">
                <a:solidFill>
                  <a:srgbClr val="1E50A0"/>
                </a:solidFill>
                <a:sym typeface="Trebuchet MS" panose="020B0603020202020204" pitchFamily="34" charset="0"/>
              </a:rPr>
              <a:t>% sales share </a:t>
            </a: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C93EEFFA-5808-475D-B805-DFE28F35B1A2}"/>
              </a:ext>
            </a:extLst>
          </p:cNvPr>
          <p:cNvSpPr/>
          <p:nvPr/>
        </p:nvSpPr>
        <p:spPr>
          <a:xfrm>
            <a:off x="8168174" y="3439647"/>
            <a:ext cx="842784" cy="26912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&lt; 1%</a:t>
            </a: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4AF1CB42-9FDA-4A1A-8946-1881C2C5F1F1}"/>
              </a:ext>
            </a:extLst>
          </p:cNvPr>
          <p:cNvSpPr/>
          <p:nvPr/>
        </p:nvSpPr>
        <p:spPr>
          <a:xfrm>
            <a:off x="7540105" y="5971202"/>
            <a:ext cx="842784" cy="26912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1%</a:t>
            </a: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7D407004-5D39-4F72-ACBE-B32AE7D1D998}"/>
              </a:ext>
            </a:extLst>
          </p:cNvPr>
          <p:cNvSpPr/>
          <p:nvPr/>
        </p:nvSpPr>
        <p:spPr>
          <a:xfrm>
            <a:off x="8544104" y="5973469"/>
            <a:ext cx="842784" cy="26912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&lt; 1%</a:t>
            </a: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CBB71508-5883-48A7-8555-666190E450F2}"/>
              </a:ext>
            </a:extLst>
          </p:cNvPr>
          <p:cNvSpPr/>
          <p:nvPr/>
        </p:nvSpPr>
        <p:spPr>
          <a:xfrm>
            <a:off x="9265533" y="3439647"/>
            <a:ext cx="842784" cy="26912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&lt; 1%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0D22581-92F5-4498-B068-DD9D5B54FF60}"/>
              </a:ext>
            </a:extLst>
          </p:cNvPr>
          <p:cNvSpPr/>
          <p:nvPr>
            <p:custDataLst>
              <p:tags r:id="rId100"/>
            </p:custDataLst>
          </p:nvPr>
        </p:nvSpPr>
        <p:spPr bwMode="gray">
          <a:xfrm>
            <a:off x="10353675" y="1004888"/>
            <a:ext cx="214313" cy="160338"/>
          </a:xfrm>
          <a:prstGeom prst="rect">
            <a:avLst/>
          </a:prstGeom>
          <a:solidFill>
            <a:srgbClr val="0080F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577182AC-5A12-497B-9555-B4B493AC5D94}"/>
              </a:ext>
            </a:extLst>
          </p:cNvPr>
          <p:cNvSpPr/>
          <p:nvPr>
            <p:custDataLst>
              <p:tags r:id="rId101"/>
            </p:custDataLst>
          </p:nvPr>
        </p:nvSpPr>
        <p:spPr bwMode="gray">
          <a:xfrm>
            <a:off x="11185525" y="1004888"/>
            <a:ext cx="214313" cy="160338"/>
          </a:xfrm>
          <a:prstGeom prst="rect">
            <a:avLst/>
          </a:prstGeom>
          <a:solidFill>
            <a:srgbClr val="2959A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02"/>
            </p:custDataLst>
          </p:nvPr>
        </p:nvSpPr>
        <p:spPr bwMode="auto">
          <a:xfrm>
            <a:off x="10618788" y="1012825"/>
            <a:ext cx="4651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F0F453-6EEA-4AC8-80D8-406FA0114EF4}" type="datetime'''''''''''''''E''''x''''''p''''''or''ts'''''''''''''''''">
              <a:rPr lang="en-US" altLang="en-US" sz="1200" smtClean="0"/>
              <a:pPr/>
              <a:t>Exports</a:t>
            </a:fld>
            <a:endParaRPr lang="en-US" sz="1200" dirty="0"/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DC63509D-08BF-4F79-BC3C-66868A3F4E33}"/>
              </a:ext>
            </a:extLst>
          </p:cNvPr>
          <p:cNvSpPr>
            <a:spLocks noGrp="1"/>
          </p:cNvSpPr>
          <p:nvPr>
            <p:custDataLst>
              <p:tags r:id="rId103"/>
            </p:custDataLst>
          </p:nvPr>
        </p:nvSpPr>
        <p:spPr bwMode="auto">
          <a:xfrm>
            <a:off x="11450638" y="1012825"/>
            <a:ext cx="5826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5327C76-FF0D-4479-9F30-F301B1B7D1A4}" type="datetime'D''''o''''m''''es''''''''''''''''t''''''''''i''''''c'''''">
              <a:rPr lang="en-US" altLang="en-US" sz="1200" smtClean="0"/>
              <a:pPr/>
              <a:t>Domestic</a:t>
            </a:fld>
            <a:endParaRPr lang="en-US" sz="1200" dirty="0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F3BB8566-5AD9-8A60-94F1-508F778E653A}"/>
              </a:ext>
            </a:extLst>
          </p:cNvPr>
          <p:cNvSpPr/>
          <p:nvPr/>
        </p:nvSpPr>
        <p:spPr>
          <a:xfrm>
            <a:off x="9544180" y="5971201"/>
            <a:ext cx="842784" cy="26912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&lt; 1%</a:t>
            </a:r>
          </a:p>
        </p:txBody>
      </p:sp>
    </p:spTree>
    <p:extLst>
      <p:ext uri="{BB962C8B-B14F-4D97-AF65-F5344CB8AC3E}">
        <p14:creationId xmlns:p14="http://schemas.microsoft.com/office/powerpoint/2010/main" val="3216693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ject 52" hidden="1">
            <a:extLst>
              <a:ext uri="{FF2B5EF4-FFF2-40B4-BE49-F238E27FC236}">
                <a16:creationId xmlns:a16="http://schemas.microsoft.com/office/drawing/2014/main" id="{249C2057-F551-44AC-8E9D-8B82A78271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4513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4" imgW="395" imgH="396" progId="TCLayout.ActiveDocument.1">
                  <p:embed/>
                </p:oleObj>
              </mc:Choice>
              <mc:Fallback>
                <p:oleObj name="think-cell Slide" r:id="rId134" imgW="395" imgH="396" progId="TCLayout.ActiveDocument.1">
                  <p:embed/>
                  <p:pic>
                    <p:nvPicPr>
                      <p:cNvPr id="53" name="Object 52" hidden="1">
                        <a:extLst>
                          <a:ext uri="{FF2B5EF4-FFF2-40B4-BE49-F238E27FC236}">
                            <a16:creationId xmlns:a16="http://schemas.microsoft.com/office/drawing/2014/main" id="{249C2057-F551-44AC-8E9D-8B82A78271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8AD972F-8D44-43D3-A898-6A9EB3EB5912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1516063" y="2613025"/>
            <a:ext cx="2746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85D4569-5B54-4762-BC7C-229A12DA7A86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2251075" y="2478088"/>
            <a:ext cx="2746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AE3E496-0903-4886-A549-8343CAADA12A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2986088" y="2416175"/>
            <a:ext cx="2746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5BE39F1-E940-4543-8C55-3FE560C6A80A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3719513" y="2368550"/>
            <a:ext cx="2746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6FD7A2A-C45E-450D-ADE9-98E0CF314160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4454525" y="2346325"/>
            <a:ext cx="2746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0BA07C80-8431-459B-807F-9B1A1FC9DEBB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5189538" y="2339975"/>
            <a:ext cx="2746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D189F274-570D-4811-9A3D-D5178E51ADC6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4729164" y="2339975"/>
            <a:ext cx="460375" cy="6350"/>
          </a:xfrm>
          <a:prstGeom prst="rect">
            <a:avLst/>
          </a:prstGeom>
          <a:solidFill>
            <a:srgbClr val="1E50A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4" name="Chart 33">
            <a:extLst>
              <a:ext uri="{FF2B5EF4-FFF2-40B4-BE49-F238E27FC236}">
                <a16:creationId xmlns:a16="http://schemas.microsoft.com/office/drawing/2014/main" id="{8BE92151-F873-43CC-29F1-6084C73EFCA2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89090709"/>
              </p:ext>
            </p:extLst>
          </p:nvPr>
        </p:nvGraphicFramePr>
        <p:xfrm>
          <a:off x="836613" y="1617663"/>
          <a:ext cx="5308600" cy="1443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6"/>
          </a:graphicData>
        </a:graphic>
      </p:graphicFrame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id="{C9C92CCA-C3E9-BD76-70D3-1196B5760ABE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 flipV="1">
            <a:off x="2192338" y="2481263"/>
            <a:ext cx="77787" cy="1047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3F9CBB9-140F-46AC-B569-41E582F8FA65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 flipH="1" flipV="1">
            <a:off x="3660775" y="2368550"/>
            <a:ext cx="77788" cy="1079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654269C-8547-4939-ABA1-84245304C57D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 flipH="1" flipV="1">
            <a:off x="2927350" y="2416174"/>
            <a:ext cx="77788" cy="1079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1C10776-4C9A-49C7-ACD7-94234871BC0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205164" y="3028950"/>
            <a:ext cx="569913" cy="660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904BEF-0739-41D7-87AA-44DA15E792BB}" type="datetime'Sel''''f ''Lo''ad''i''''''ng ''C''on''''c''rete Mixers'''">
              <a:rPr lang="en-US" altLang="en-US" sz="1200" smtClean="0"/>
              <a:pPr/>
              <a:t>Self Loading Concrete Mixers</a:t>
            </a:fld>
            <a:endParaRPr lang="en-US" sz="1200" dirty="0"/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279900" y="2263775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F02F58-7412-486E-B3A7-7FC50FC00877}" type="datetime'''''''''''''''1''''''''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010025" y="2274888"/>
            <a:ext cx="200025" cy="165100"/>
          </a:xfrm>
          <a:prstGeom prst="rect">
            <a:avLst/>
          </a:prstGeom>
          <a:solidFill>
            <a:srgbClr val="1E50A0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881CF4B-3F03-4875-A437-0CEE3F32ED8E}" type="datetime'''''''''''''''''''''''''''''''''''9''''4'">
              <a:rPr lang="en-US" altLang="en-US" sz="1200" smtClean="0">
                <a:solidFill>
                  <a:schemeClr val="bg1"/>
                </a:solidFill>
                <a:effectLst/>
              </a:rPr>
              <a:pPr/>
              <a:t>94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DA6E763-147A-4FB8-A205-904B2B09AE4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008438" y="3028950"/>
            <a:ext cx="43338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297F54-87B2-47B6-B39F-90CD5A2E69BD}" type="datetime'''''''''B''o''''o''m'''''' ''''P''''''''''um''p''''s'''''">
              <a:rPr lang="en-US" altLang="en-US" sz="1200" smtClean="0"/>
              <a:pPr/>
              <a:t>Boom Pumps</a:t>
            </a:fld>
            <a:endParaRPr lang="en-US" sz="1200" dirty="0"/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014913" y="2257425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BB4A16-C9F9-4B81-ADFB-C802113373D0}" type="datetime'''''''''''''''''''''''''''''''''''''''1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745038" y="2260600"/>
            <a:ext cx="200025" cy="165100"/>
          </a:xfrm>
          <a:prstGeom prst="rect">
            <a:avLst/>
          </a:prstGeom>
          <a:solidFill>
            <a:srgbClr val="1E50A0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DD2E66-2E44-44D3-9BCB-1D0D886EE2B4}" type="datetime'''''''''''3''''''''''''''''''''3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33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185863" y="2532063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A5C944-CE9E-48A7-8307-C4CD1BF9F401}" type="datetime'''''''''''''''1''''''''''''''''2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2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3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594350" y="1624013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091074-439C-4F9E-A9D6-190CE22987D5}" type="datetime'''5''9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59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D7923E3A-0B1A-431D-80FF-0801BDAB8EFB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538788" y="3028950"/>
            <a:ext cx="3111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6EF3DF-EC7E-4ADC-A44C-D84A580B411B}" type="datetime'''T''''''''''''''''''''''''''''o''''''''t''''''''al'">
              <a:rPr lang="en-US" altLang="en-US" sz="1200" smtClean="0"/>
              <a:pPr/>
              <a:t>Total</a:t>
            </a:fld>
            <a:endParaRPr lang="en-US" sz="1200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1ABA418-5503-42F1-AF23-2863D2D9AC7C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001713" y="3028950"/>
            <a:ext cx="569913" cy="660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E1961F-C2D1-4657-B249-1DDD7F4F4CA5}" type="datetime'C''o''''nc''''''r''''ete M''i''x''ers (T''ransit'' Mi''xers)'">
              <a:rPr lang="en-US" altLang="en-US" sz="1200" smtClean="0"/>
              <a:pPr/>
              <a:t>Concrete Mixers (Transit Mixers)</a:t>
            </a:fld>
            <a:endParaRPr lang="en-US" sz="120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C15B6F0-A781-43E3-AC8B-64489AF59D7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700213" y="3028950"/>
            <a:ext cx="642938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BA8B2E2-795B-4220-AD6E-A2454719D894}" type="datetime'''Sta''''''''t''''io''n''ary Co''n''''''cret''e P''um''p''s'">
              <a:rPr lang="en-US" altLang="en-US" sz="1200" smtClean="0"/>
              <a:pPr/>
              <a:t>Stationary Concrete Pumps</a:t>
            </a:fld>
            <a:endParaRPr lang="en-US" sz="1200" dirty="0"/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617788" y="2365375"/>
            <a:ext cx="277813" cy="165100"/>
          </a:xfrm>
          <a:prstGeom prst="rect">
            <a:avLst/>
          </a:prstGeom>
          <a:solidFill>
            <a:srgbClr val="1E50A0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42F084-E800-4C86-B622-CDD0530A116B}" type="datetime'''''26''''''''''''''''''3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263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C3A3C01-79F7-4937-A013-E792F3016CB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482850" y="3028950"/>
            <a:ext cx="5461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37523E-BACD-4E6B-9D21-2F6B97D665C3}" type="datetime'B''''''atchi''ng'' ''''''''P''''''l''an''''''''''t''''s'''''">
              <a:rPr lang="en-US" altLang="en-US" sz="1200" smtClean="0"/>
              <a:pPr/>
              <a:t>Batching Plants</a:t>
            </a:fld>
            <a:endParaRPr lang="en-US" sz="1200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49D2C09-D1C0-4F02-ACB5-94964FF066C3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738563" y="2393950"/>
            <a:ext cx="122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59A5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6C3211F-0FDF-4C09-862A-50DD747A17E5}" type="datetime'''''''''''''''''''''''''3'''''''''''''''''''''''">
              <a:rPr lang="en-US" altLang="en-US" sz="1200" smtClean="0"/>
              <a:pPr/>
              <a:t>3</a:t>
            </a:fld>
            <a:endParaRPr lang="en-US" sz="1200" dirty="0"/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351213" y="2309813"/>
            <a:ext cx="277813" cy="165100"/>
          </a:xfrm>
          <a:prstGeom prst="rect">
            <a:avLst/>
          </a:prstGeom>
          <a:solidFill>
            <a:srgbClr val="1E50A0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D647A9-D658-4256-8762-781828D61E0A}" type="datetime'''''''''''''20''''''''''''''''''''''''''''''''''''''''9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209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089025" y="2366963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5C9D4C-1F56-44B9-848F-DD260CBF7777}" type="datetime'1'''''''''',''''''''''''''6''1''''''''''''''9'''''">
              <a:rPr lang="en-US" altLang="en-US" sz="1200" smtClean="0"/>
              <a:pPr/>
              <a:t>1,619</a:t>
            </a:fld>
            <a:endParaRPr lang="en-US" sz="1200" dirty="0"/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882775" y="2287588"/>
            <a:ext cx="277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93ED28-5FFE-4ECE-9CA0-39700E7C0A5F}" type="datetime'''''''''''6''''''''''''''''0''''3'''''">
              <a:rPr lang="en-US" altLang="en-US" sz="1200" smtClean="0"/>
              <a:pPr/>
              <a:t>603</a:t>
            </a:fld>
            <a:endParaRPr lang="en-US" sz="1200" dirty="0"/>
          </a:p>
        </p:txBody>
      </p:sp>
      <p:sp>
        <p:nvSpPr>
          <p:cNvPr id="15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2617788" y="2200275"/>
            <a:ext cx="277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A1DEC8-4A4E-4326-8C91-D11F6E1FC3C3}" type="datetime'''''''''''''''2''''''''''''74'''''''''''">
              <a:rPr lang="en-US" altLang="en-US" sz="1200" smtClean="0"/>
              <a:pPr/>
              <a:t>274</a:t>
            </a:fld>
            <a:endParaRPr lang="en-US" sz="1200" dirty="0"/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351213" y="2144713"/>
            <a:ext cx="277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1E3711-37A1-4402-BA7A-FCCE9F86BF9F}" type="datetime'''''''''''''2''''''''''''''''1''2'''">
              <a:rPr lang="en-US" altLang="en-US" sz="1200" smtClean="0"/>
              <a:pPr/>
              <a:t>212</a:t>
            </a:fld>
            <a:endParaRPr lang="en-US" sz="1200" dirty="0"/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124325" y="2098675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5FC6D9-508A-4CF4-83AB-B3C66A99773E}" type="datetime'''''''''''''''''''''''''''''''''9''5'''''''''''''''''">
              <a:rPr lang="en-US" altLang="en-US" sz="1200" smtClean="0"/>
              <a:pPr/>
              <a:t>95</a:t>
            </a:fld>
            <a:endParaRPr lang="en-US" sz="1200" dirty="0"/>
          </a:p>
        </p:txBody>
      </p:sp>
      <p:sp>
        <p:nvSpPr>
          <p:cNvPr id="16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859338" y="2092325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D564BD-3CE9-4759-8884-103655D6BF50}" type="datetime'''''3''''''''''4'''''''''''''''''">
              <a:rPr lang="en-US" altLang="en-US" sz="1200" smtClean="0"/>
              <a:pPr/>
              <a:t>34</a:t>
            </a:fld>
            <a:endParaRPr lang="en-US" sz="1200" dirty="0"/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497513" y="1458913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7D99B4-60BA-452A-947D-5D343FFFA096}" type="datetime'''''''2'''''''''''''''''''',''''''''''''''''''''8''37'''''''">
              <a:rPr lang="en-US" altLang="en-US" sz="1200" smtClean="0"/>
              <a:pPr/>
              <a:t>2,837</a:t>
            </a:fld>
            <a:endParaRPr lang="en-US" sz="1200" dirty="0"/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9E4C7A41-08A5-46AA-89AA-E63AC299623F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745038" y="3028950"/>
            <a:ext cx="4302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688E5C-3869-47DE-9F25-54C63AD5BAFB}" type="datetime'''O''''t''''h''''e''''''''''''''''''''''rs'''">
              <a:rPr lang="en-US" altLang="en-US" sz="1200" smtClean="0"/>
              <a:pPr/>
              <a:t>Others</a:t>
            </a:fld>
            <a:endParaRPr lang="en-US" sz="1200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8D1E289-204F-48FB-A88B-A5273FCF781C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>
            <a:off x="7227888" y="2709863"/>
            <a:ext cx="24765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FC25DCD-9D12-4212-8111-CF5AE4EBC705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>
            <a:off x="7891463" y="2435225"/>
            <a:ext cx="24765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98AF08E-E3FD-412F-BC0E-E59A285FD9E3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>
            <a:off x="8555038" y="2363788"/>
            <a:ext cx="24765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3325616-4C16-46C6-A4BF-A0875CDE693C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">
          <a:xfrm>
            <a:off x="9218613" y="2324100"/>
            <a:ext cx="24765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4710DF80-6368-4885-BA38-DE084B68A21B}"/>
              </a:ext>
            </a:extLst>
          </p:cNvPr>
          <p:cNvCxnSpPr/>
          <p:nvPr>
            <p:custDataLst>
              <p:tags r:id="rId40"/>
            </p:custDataLst>
          </p:nvPr>
        </p:nvCxnSpPr>
        <p:spPr bwMode="gray">
          <a:xfrm>
            <a:off x="9882188" y="2306638"/>
            <a:ext cx="24765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B5E10AB-655A-4D23-B0FE-78853419395F}"/>
              </a:ext>
            </a:extLst>
          </p:cNvPr>
          <p:cNvCxnSpPr/>
          <p:nvPr>
            <p:custDataLst>
              <p:tags r:id="rId41"/>
            </p:custDataLst>
          </p:nvPr>
        </p:nvCxnSpPr>
        <p:spPr bwMode="gray">
          <a:xfrm>
            <a:off x="10545763" y="2293938"/>
            <a:ext cx="24765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9DFA240A-9DBF-3426-668E-78A64C877782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11209338" y="2287588"/>
            <a:ext cx="2476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6" name="Rectangle 65">
            <a:extLst>
              <a:ext uri="{FF2B5EF4-FFF2-40B4-BE49-F238E27FC236}">
                <a16:creationId xmlns:a16="http://schemas.microsoft.com/office/drawing/2014/main" id="{FA94D54A-35F2-633C-70EB-D58C567A36C0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10793413" y="2287588"/>
            <a:ext cx="415925" cy="6350"/>
          </a:xfrm>
          <a:prstGeom prst="rect">
            <a:avLst/>
          </a:prstGeom>
          <a:solidFill>
            <a:srgbClr val="2959A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9" name="Chart 68">
            <a:extLst>
              <a:ext uri="{FF2B5EF4-FFF2-40B4-BE49-F238E27FC236}">
                <a16:creationId xmlns:a16="http://schemas.microsoft.com/office/drawing/2014/main" id="{E6C2832A-B7C7-2F80-B8B4-5F317516AE20}"/>
              </a:ext>
            </a:extLst>
          </p:cNvPr>
          <p:cNvGraphicFramePr/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666946456"/>
              </p:ext>
            </p:extLst>
          </p:nvPr>
        </p:nvGraphicFramePr>
        <p:xfrm>
          <a:off x="6605588" y="1452563"/>
          <a:ext cx="5473700" cy="1668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7"/>
          </a:graphicData>
        </a:graphic>
      </p:graphicFrame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224E206D-F905-489F-B806-AB2B9A202AA3}"/>
              </a:ext>
            </a:extLst>
          </p:cNvPr>
          <p:cNvCxnSpPr/>
          <p:nvPr>
            <p:custDataLst>
              <p:tags r:id="rId45"/>
            </p:custDataLst>
          </p:nvPr>
        </p:nvCxnSpPr>
        <p:spPr bwMode="gray">
          <a:xfrm flipH="1" flipV="1">
            <a:off x="8502650" y="2363788"/>
            <a:ext cx="71438" cy="10795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19A3EC1F-8FCB-31C7-9011-BAC80644ABF1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 flipH="1" flipV="1">
            <a:off x="7839075" y="2441575"/>
            <a:ext cx="71438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9718675" y="2224088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51E095-4C9F-4C64-AD21-2C24B031D826}" type="datetime'''''''''''''''''2''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9471025" y="2233613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EA4E14-61D7-4DDC-B286-3B1021CFD5B6}" type="datetime'''''''''''''''''''''''''29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29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A3CADD7-7820-4458-AC6F-FA8FD87107E0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9339263" y="3089275"/>
            <a:ext cx="67151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0DCEA9-C58A-4097-A061-81473F1D49F3}" type="datetime'Pneumatic'''' ''''''T''''''''y''r''e'' R''o''lle''''rs'">
              <a:rPr lang="en-US" altLang="en-US" sz="1200" smtClean="0"/>
              <a:pPr/>
              <a:t>Pneumatic Tyre Rollers</a:t>
            </a:fld>
            <a:endParaRPr lang="en-US" sz="1200" dirty="0"/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10382250" y="2211388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1794A6-1612-42A8-8382-6AFA78F83FF7}" type="datetime'''0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10134600" y="2217738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FB38ED-4090-4D0C-9806-A40B3F50B27D}" type="datetime'''''''''''''''''''''''''''''''''2''''''''''2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22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6D5829DA-CE39-46F5-BDF6-38B5093029CA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10064750" y="3089275"/>
            <a:ext cx="5461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ECA1C9-4286-4F63-83CC-FAE63CE1F3C1}" type="datetime'Asph''''''alt'''''' B''atc''h''i''''n''g'' P''lant'''''''''">
              <a:rPr lang="en-US" altLang="en-US" sz="1200" smtClean="0"/>
              <a:pPr/>
              <a:t>Asphalt Batching Plant</a:t>
            </a:fld>
            <a:endParaRPr lang="en-US" sz="1200" dirty="0"/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11045825" y="2205038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317FAD-F797-4554-B179-DA3DDD134025}" type="datetime'''''''''''''''''0'''''''''''''''''''''''">
              <a:rPr lang="en-US" altLang="en-US" sz="12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11B5ABAF-61F4-4DE7-87B5-CDBC70BA8F6A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10787063" y="3089275"/>
            <a:ext cx="4302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639A69-7824-4C9E-9BE6-8BCC4B6DDFE1}" type="datetime'''O''''''''t''''''''''h''''''''''e''''''''''r''''''''''''''s'">
              <a:rPr lang="en-US" altLang="en-US" sz="1200" smtClean="0"/>
              <a:pPr/>
              <a:t>Others</a:t>
            </a:fld>
            <a:endParaRPr lang="en-US" sz="1200" dirty="0"/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6881813" y="2659063"/>
            <a:ext cx="277813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D455EE6-BFED-4FB1-8631-C1736B069496}" type="datetime'''1''''''''''''''''''''''''''''''''''''''''''''''''16'''">
              <a:rPr lang="en-US" altLang="en-US" sz="12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6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7636D3EF-D2A1-9A21-E073-90E9D19C594F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11509375" y="3089275"/>
            <a:ext cx="3111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4508AD-7579-4B02-861F-59B5F83D649D}" type="datetime'T''o''''''''''''''''''''''''''''''''ta''''''''l'''''''''''''''">
              <a:rPr lang="en-US" altLang="en-US" sz="1200" smtClean="0"/>
              <a:pPr/>
              <a:t>Total</a:t>
            </a:fld>
            <a:endParaRPr lang="en-US" sz="1200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5AB9E10-898B-4A06-9BA4-137C519BED17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6669088" y="3089274"/>
            <a:ext cx="703263" cy="433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C3957B-6EE6-430A-9190-EA32B4C6A72E}" type="datetime'''S''ingle'''' D''rum Rol''lers (''''Soil C''ompact''o''''rs)'">
              <a:rPr lang="en-US" altLang="en-US" sz="1050" smtClean="0"/>
              <a:pPr/>
              <a:t>Single Drum Rollers (Soil Compactors)</a:t>
            </a:fld>
            <a:endParaRPr lang="en-US" sz="12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32FA031-C726-4A08-8E0A-D400A00966DC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7332663" y="3089275"/>
            <a:ext cx="703263" cy="722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51E008-19A1-48A4-B012-C3A49A0922C6}" type="datetime'Double Dru''''m Ro''llers (''Ta''ndem Compac''''to''''''''rs)'">
              <a:rPr lang="en-US" altLang="en-US" sz="1050" smtClean="0"/>
              <a:pPr/>
              <a:t>Double Drum Rollers (Tandem Compactors)</a:t>
            </a:fld>
            <a:endParaRPr lang="en-US" sz="1050" dirty="0"/>
          </a:p>
        </p:txBody>
      </p:sp>
      <p:sp>
        <p:nvSpPr>
          <p:cNvPr id="167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8574088" y="2389188"/>
            <a:ext cx="122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C692CD4-20E7-4B23-A076-04CF68E42701}" type="datetime'''''''''''''''''''''''''''''0'''''''''''''''''''''''''''">
              <a:rPr lang="en-US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 dirty="0"/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8208963" y="2316163"/>
            <a:ext cx="277813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84C0190-903D-49FB-B721-AD9D8B7DE870}" type="datetime'''''''''''''''''''''''1''''''''''''''2''7'">
              <a:rPr lang="en-US" altLang="en-US" sz="12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7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1A99281E-43BA-442A-9081-25DD3CEE0B0E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8062913" y="3089275"/>
            <a:ext cx="56991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ED7507-43BE-4834-BEA7-7DE0B82A19C7}" type="datetime'''''''Whe''''el''''''ed'' ''''''''P''''''''''ave''''''rs'">
              <a:rPr lang="en-US" altLang="en-US" sz="1200" smtClean="0"/>
              <a:pPr/>
              <a:t>Wheeled Pavers</a:t>
            </a:fld>
            <a:endParaRPr lang="en-US" sz="1200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5C6D661-AF71-4045-849A-6B5AF82013F0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9055100" y="2241550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367442-5E16-4A68-B1C2-68664F9B4564}" type="datetime'''''''''''''''''''''''''0'''''''''''">
              <a:rPr lang="en-US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8807450" y="2260600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AA413C-577E-4D7A-BDD6-4D5B609C315B}" type="datetime'''''''''''''''''''''''''''6''''''''''''''''''''''9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69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3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6881813" y="2493963"/>
            <a:ext cx="277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8D2151B-0921-4CDA-94F3-991F89E8FCC6}" type="datetime'''''''''''''''''''''''''''58''''''''''''''''''''''''0'''">
              <a:rPr lang="en-US" altLang="en-US" sz="1200" smtClean="0"/>
              <a:pPr/>
              <a:t>580</a:t>
            </a:fld>
            <a:endParaRPr lang="en-US" sz="1200" dirty="0"/>
          </a:p>
        </p:txBody>
      </p:sp>
      <p:sp>
        <p:nvSpPr>
          <p:cNvPr id="23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7545388" y="2244725"/>
            <a:ext cx="277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00666F-84FA-40AD-87F2-53B3C3F65F42}" type="datetime'''''''''''''''''''''''''''''4''''''''''8''''3'''''">
              <a:rPr lang="en-US" altLang="en-US" sz="1200" smtClean="0"/>
              <a:pPr/>
              <a:t>483</a:t>
            </a:fld>
            <a:endParaRPr lang="en-US" sz="1200" dirty="0"/>
          </a:p>
        </p:txBody>
      </p:sp>
      <p:sp>
        <p:nvSpPr>
          <p:cNvPr id="23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8208963" y="2151063"/>
            <a:ext cx="277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BBCEC6-2EEB-4331-B973-B95C97858BFC}" type="datetime'''''''''''''12''''''''''''''''''''7'''''''''">
              <a:rPr lang="en-US" altLang="en-US" sz="1200" smtClean="0"/>
              <a:pPr/>
              <a:t>127</a:t>
            </a:fld>
            <a:endParaRPr lang="en-US" sz="1200" dirty="0"/>
          </a:p>
        </p:txBody>
      </p:sp>
      <p:sp>
        <p:nvSpPr>
          <p:cNvPr id="23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8910638" y="2076450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A32033-64EF-4237-AACD-85CB3AECA527}" type="datetime'''''''''''''''''''''''6''''9'''''''''''''''''''''''''''''''">
              <a:rPr lang="en-US" altLang="en-US" sz="1200" smtClean="0"/>
              <a:pPr/>
              <a:t>69</a:t>
            </a:fld>
            <a:endParaRPr lang="en-US" sz="1200" dirty="0"/>
          </a:p>
        </p:txBody>
      </p:sp>
      <p:sp>
        <p:nvSpPr>
          <p:cNvPr id="23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9574213" y="2058988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1D5ACB-39D4-4C63-AFD7-9B6222BF3563}" type="datetime'''''''''''''''''''''''''''''''''3''''1'''''''''">
              <a:rPr lang="en-US" altLang="en-US" sz="1200" smtClean="0"/>
              <a:pPr/>
              <a:t>31</a:t>
            </a:fld>
            <a:endParaRPr lang="en-US" sz="1200" dirty="0"/>
          </a:p>
        </p:txBody>
      </p:sp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10237788" y="2046288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C2C886-FC3D-4BFB-B8A0-6FE4480DA59A}" type="datetime'''''''22'''''''''''''''''''''''''''''''">
              <a:rPr lang="en-US" altLang="en-US" sz="1200" smtClean="0"/>
              <a:pPr/>
              <a:t>22</a:t>
            </a:fld>
            <a:endParaRPr lang="en-US" sz="1200" dirty="0"/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DFC72DEC-0619-6A07-27EE-7DAC02D9B9CD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11468100" y="1325563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083C2E-DFFC-4771-BEA4-CD81F0C5A1D8}" type="datetime'''''''''''''''''''''''''''''''''''1'''''''',''''3''''''''''26'">
              <a:rPr lang="en-US" altLang="en-US" sz="1200" smtClean="0"/>
              <a:pPr/>
              <a:t>1,326</a:t>
            </a:fld>
            <a:endParaRPr lang="en-US" sz="1200" dirty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5E6F89F6-4622-848A-A3E0-482DC34C226D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10901363" y="2039938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641450-F6D3-4F02-91E1-FC8143342F44}" type="datetime'''''''''''''''''''''''''''1''''''''''4'''''''">
              <a:rPr lang="en-US" altLang="en-US" sz="1200" smtClean="0"/>
              <a:pPr/>
              <a:t>14</a:t>
            </a:fld>
            <a:endParaRPr lang="en-US" sz="1200" dirty="0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FD3A078D-B826-4BD6-BE28-07AB99B75BA2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10798175" y="2208213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8A2905-23DE-46DF-85E9-AE20D4F445D5}" type="datetime'''1''''''''''''''''''''''''''''''''''''4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4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387B034A-BCC8-4F29-BA80-0C48245257B6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8767763" y="3089275"/>
            <a:ext cx="4857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D7C0C6-1BCF-46E4-8BA8-EE147DC87A17}" type="datetime'''T''r''a''ck''''''e''d'' ''''P''a''''''''''v''''e''r''''s'">
              <a:rPr lang="en-US" altLang="en-US" sz="1200" smtClean="0"/>
              <a:pPr/>
              <a:t>Tracked Pavers</a:t>
            </a:fld>
            <a:endParaRPr lang="en-US" sz="1200" dirty="0"/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11526838" y="1490663"/>
            <a:ext cx="277813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E6991F2-0E32-4C4A-B0EB-16804A81E86F}" type="datetime'''''''''''''1''''''''''3''''''''''8'''''''">
              <a:rPr lang="en-US" altLang="en-US" sz="12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8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2C7B780-4450-4239-BF77-89E3E2B7627B}"/>
              </a:ext>
            </a:extLst>
          </p:cNvPr>
          <p:cNvCxnSpPr/>
          <p:nvPr>
            <p:custDataLst>
              <p:tags r:id="rId75"/>
            </p:custDataLst>
          </p:nvPr>
        </p:nvCxnSpPr>
        <p:spPr bwMode="gray">
          <a:xfrm>
            <a:off x="1817688" y="5402263"/>
            <a:ext cx="3254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FB2F3A1-6400-4345-AF4C-083340F70B32}"/>
              </a:ext>
            </a:extLst>
          </p:cNvPr>
          <p:cNvCxnSpPr/>
          <p:nvPr>
            <p:custDataLst>
              <p:tags r:id="rId76"/>
            </p:custDataLst>
          </p:nvPr>
        </p:nvCxnSpPr>
        <p:spPr bwMode="gray">
          <a:xfrm>
            <a:off x="2687638" y="5297488"/>
            <a:ext cx="3254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922B16C-64BB-4E9A-A389-9FD2BCF532ED}"/>
              </a:ext>
            </a:extLst>
          </p:cNvPr>
          <p:cNvCxnSpPr/>
          <p:nvPr>
            <p:custDataLst>
              <p:tags r:id="rId77"/>
            </p:custDataLst>
          </p:nvPr>
        </p:nvCxnSpPr>
        <p:spPr bwMode="gray">
          <a:xfrm>
            <a:off x="3557588" y="5187950"/>
            <a:ext cx="3254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C4CC95F-EBFA-4D07-B9A2-B08AEA6B89E3}"/>
              </a:ext>
            </a:extLst>
          </p:cNvPr>
          <p:cNvCxnSpPr/>
          <p:nvPr>
            <p:custDataLst>
              <p:tags r:id="rId78"/>
            </p:custDataLst>
          </p:nvPr>
        </p:nvCxnSpPr>
        <p:spPr bwMode="gray">
          <a:xfrm>
            <a:off x="4427538" y="5105400"/>
            <a:ext cx="3254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D409B6E-92C5-436C-9371-D8FD74D0C444}"/>
              </a:ext>
            </a:extLst>
          </p:cNvPr>
          <p:cNvCxnSpPr/>
          <p:nvPr>
            <p:custDataLst>
              <p:tags r:id="rId79"/>
            </p:custDataLst>
          </p:nvPr>
        </p:nvCxnSpPr>
        <p:spPr bwMode="gray">
          <a:xfrm>
            <a:off x="5297488" y="5080000"/>
            <a:ext cx="3254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BF9B477-56A4-4D85-89BA-EB9C8AC8AE25}"/>
              </a:ext>
            </a:extLst>
          </p:cNvPr>
          <p:cNvCxnSpPr/>
          <p:nvPr>
            <p:custDataLst>
              <p:tags r:id="rId80"/>
            </p:custDataLst>
          </p:nvPr>
        </p:nvCxnSpPr>
        <p:spPr bwMode="gray">
          <a:xfrm>
            <a:off x="6169025" y="5060950"/>
            <a:ext cx="3254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CA8721B1-034B-4A1C-A4A0-965B000316A8}"/>
              </a:ext>
            </a:extLst>
          </p:cNvPr>
          <p:cNvCxnSpPr/>
          <p:nvPr>
            <p:custDataLst>
              <p:tags r:id="rId81"/>
            </p:custDataLst>
          </p:nvPr>
        </p:nvCxnSpPr>
        <p:spPr bwMode="gray">
          <a:xfrm>
            <a:off x="7038975" y="5021263"/>
            <a:ext cx="3254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AD8A797-BCB1-4B36-AE24-1F0EA9AA9E65}"/>
              </a:ext>
            </a:extLst>
          </p:cNvPr>
          <p:cNvCxnSpPr/>
          <p:nvPr>
            <p:custDataLst>
              <p:tags r:id="rId82"/>
            </p:custDataLst>
          </p:nvPr>
        </p:nvCxnSpPr>
        <p:spPr bwMode="gray">
          <a:xfrm>
            <a:off x="7908925" y="4987925"/>
            <a:ext cx="3254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92B5DF79-9A9D-4467-9CB2-3E6CDA03DC73}"/>
              </a:ext>
            </a:extLst>
          </p:cNvPr>
          <p:cNvCxnSpPr/>
          <p:nvPr>
            <p:custDataLst>
              <p:tags r:id="rId83"/>
            </p:custDataLst>
          </p:nvPr>
        </p:nvCxnSpPr>
        <p:spPr bwMode="gray">
          <a:xfrm>
            <a:off x="8778875" y="4973638"/>
            <a:ext cx="3254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02D5639A-2A0B-44E6-BFF4-5938EE33558F}"/>
              </a:ext>
            </a:extLst>
          </p:cNvPr>
          <p:cNvCxnSpPr/>
          <p:nvPr>
            <p:custDataLst>
              <p:tags r:id="rId84"/>
            </p:custDataLst>
          </p:nvPr>
        </p:nvCxnSpPr>
        <p:spPr bwMode="gray">
          <a:xfrm>
            <a:off x="9648825" y="4956175"/>
            <a:ext cx="3254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06" name="Chart 205">
            <a:extLst>
              <a:ext uri="{FF2B5EF4-FFF2-40B4-BE49-F238E27FC236}">
                <a16:creationId xmlns:a16="http://schemas.microsoft.com/office/drawing/2014/main" id="{628E993E-4DEE-D7CB-A80B-0C4953722A9F}"/>
              </a:ext>
            </a:extLst>
          </p:cNvPr>
          <p:cNvGraphicFramePr/>
          <p:nvPr>
            <p:custDataLst>
              <p:tags r:id="rId85"/>
            </p:custDataLst>
            <p:extLst>
              <p:ext uri="{D42A27DB-BD31-4B8C-83A1-F6EECF244321}">
                <p14:modId xmlns:p14="http://schemas.microsoft.com/office/powerpoint/2010/main" val="3464876690"/>
              </p:ext>
            </p:extLst>
          </p:nvPr>
        </p:nvGraphicFramePr>
        <p:xfrm>
          <a:off x="1028700" y="4213225"/>
          <a:ext cx="9736138" cy="1485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8"/>
          </a:graphicData>
        </a:graphic>
      </p:graphicFrame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48CD2E19-CDE1-05BE-ED65-16BD9D92459E}"/>
              </a:ext>
            </a:extLst>
          </p:cNvPr>
          <p:cNvCxnSpPr/>
          <p:nvPr>
            <p:custDataLst>
              <p:tags r:id="rId86"/>
            </p:custDataLst>
          </p:nvPr>
        </p:nvCxnSpPr>
        <p:spPr bwMode="auto">
          <a:xfrm flipH="1" flipV="1">
            <a:off x="2619375" y="5297488"/>
            <a:ext cx="87313" cy="1079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3919538" y="5064125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D32288-1384-4B4B-88F3-2A0BA2B43F83}" type="datetime'''''''''''''''''''''''''''''''''8''''''''0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8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D3D3CAE-0857-4B1E-BE13-53A8062A66E2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3844925" y="5667375"/>
            <a:ext cx="6191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0D8B45-98DC-4FC0-BB2C-AC3657ED64A6}" type="datetime'S''''''tat''ic ''Ja''''''w'' ''''''''C''r''''''ush''ers'">
              <a:rPr lang="en-US" altLang="en-US" sz="1200" smtClean="0"/>
              <a:pPr/>
              <a:t>Static Jaw Crushers</a:t>
            </a:fld>
            <a:endParaRPr lang="en-US" sz="1200" dirty="0"/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5100638" y="4999038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05BA1A-E56C-46CB-AB71-B5A16183B437}" type="datetime'3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3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9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4789488" y="5011738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C929E9-A9A2-4EE0-BF75-388989432C15}" type="datetime'''''''''''''''''''''22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22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30ABAA79-140D-47C1-B40D-76760DDB2648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4616450" y="5667375"/>
            <a:ext cx="8159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5FD707-4314-4348-A790-3BDC62A72D36}" type="datetime'''''Whe''el''''''ed'''''' ''''J''''aw ''C''''''''rusher''''s'">
              <a:rPr lang="en-US" altLang="en-US" sz="1200" smtClean="0"/>
              <a:pPr/>
              <a:t>Wheeled Jaw Crushers</a:t>
            </a:fld>
            <a:endParaRPr lang="en-US" sz="1200" dirty="0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972175" y="4978400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9D281A-C396-4BF5-865C-CE26120F785F}" type="datetime'''''''''''''''''''''''''2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2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97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5659438" y="4987925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7BD89A1-BD44-476C-8B71-79FB68A52D52}" type="datetime'''''''''''''''''''''1''''''''''''''''''''''''''''''''7'">
              <a:rPr lang="en-US" altLang="en-US" sz="1200" smtClean="0">
                <a:solidFill>
                  <a:schemeClr val="bg1"/>
                </a:solidFill>
                <a:effectLst/>
              </a:rPr>
              <a:pPr/>
              <a:t>17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B4D9F90B-DC05-416E-902A-E5F96927A1D8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5611813" y="5667375"/>
            <a:ext cx="56991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2FC47A-1AFC-4370-837F-52694857AD2C}" type="datetime'Wheeled ''''''C''''o''n''''e Cr''u''s''h''''''ers'''''''''">
              <a:rPr lang="en-US" altLang="en-US" sz="1200" smtClean="0"/>
              <a:pPr/>
              <a:t>Wheeled Cone Crushers</a:t>
            </a:fld>
            <a:endParaRPr lang="en-US" sz="1200" dirty="0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6842125" y="4943475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38AE9A-F7A5-4702-90A6-F95C2C778F1D}" type="datetime'9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9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6530975" y="4962525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F58379-8B30-47E1-8E3C-BA0EF55A636D}" type="datetime'2''''''''''''''''''''''9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29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7712075" y="4908550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EEEC1F-3588-48A9-BD91-30DA4F90534A}" type="datetime'''''''''''''''''''''''''''''6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6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7400925" y="4924425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2CC106-8D80-4824-B0B2-AD76883687B2}" type="datetime'''''''''''2''''''''''''7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27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C1B7CF2D-C207-4928-A331-64071A1A668C}"/>
              </a:ext>
            </a:extLst>
          </p:cNvPr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7261225" y="5667375"/>
            <a:ext cx="75088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EB2177-B83D-4A85-894A-3B686800CCEA}" type="datetime'Tr''ac''''''''''k''''''ed Jaw ''Cr''''u''sher''''s'''''''">
              <a:rPr lang="en-US" altLang="en-US" sz="1200" smtClean="0"/>
              <a:pPr/>
              <a:t>Tracked Jaw Crushers</a:t>
            </a:fld>
            <a:endParaRPr lang="en-US" sz="1200" dirty="0"/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8582025" y="4891088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A12B65-A7F1-4A7B-A6B3-43C67E6768A9}" type="datetime'''''''''''''''''''''''''''''''0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8270875" y="4897438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8BF3CB-DBAE-4428-8E39-06B35EAC87A8}" type="datetime'''''''''''''''''''''''''''''''''1''''''''''''''''''''''4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4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23DC6693-7D19-4B6F-A7EC-A8B83DC95867}"/>
              </a:ext>
            </a:extLst>
          </p:cNvPr>
          <p:cNvSpPr>
            <a:spLocks noGrp="1"/>
          </p:cNvSpPr>
          <p:nvPr>
            <p:custDataLst>
              <p:tags r:id="rId102"/>
            </p:custDataLst>
          </p:nvPr>
        </p:nvSpPr>
        <p:spPr bwMode="auto">
          <a:xfrm>
            <a:off x="6346825" y="5667375"/>
            <a:ext cx="8382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F19447-DBE6-44CA-9D7C-517D13EBD7D1}" type="datetime'Tr''''a''''''c''ked'' ''''''''Con''e'''''''''''''' Cru''sher'">
              <a:rPr lang="en-US" altLang="en-US" sz="1200" smtClean="0"/>
              <a:pPr/>
              <a:t>Tracked Cone Crusher</a:t>
            </a:fld>
            <a:endParaRPr lang="en-US" sz="1200" dirty="0"/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9451975" y="4873625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B1FDBA-83BD-4BB6-BDA8-55358BA99E26}" type="datetime'''''''''''''''''''''''''''''''''0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>
            <a:off x="9140825" y="4881563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A30330-B7F3-4336-A6AF-1730E7979173}" type="datetime'''1''''''''''8''''''''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8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3A595C0E-AD47-4964-9799-860C8347A081}"/>
              </a:ext>
            </a:extLst>
          </p:cNvPr>
          <p:cNvSpPr>
            <a:spLocks noGrp="1"/>
          </p:cNvSpPr>
          <p:nvPr>
            <p:custDataLst>
              <p:tags r:id="rId105"/>
            </p:custDataLst>
          </p:nvPr>
        </p:nvSpPr>
        <p:spPr bwMode="auto">
          <a:xfrm>
            <a:off x="9096375" y="5667375"/>
            <a:ext cx="558800" cy="660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3A84B8-75BD-49BD-AD74-0B8C2EB02ED4}" type="datetime'T''rack''ed'''' ''Im''pact'''' Crushe''r (H''IS''/V''''SI)'">
              <a:rPr lang="en-US" altLang="en-US" sz="1200" smtClean="0"/>
              <a:pPr/>
              <a:t>Tracked Impact Crusher (HIS/VSI)</a:t>
            </a:fld>
            <a:endParaRPr lang="en-US" sz="1200" dirty="0"/>
          </a:p>
        </p:txBody>
      </p:sp>
      <p:sp>
        <p:nvSpPr>
          <p:cNvPr id="25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10107613" y="4264025"/>
            <a:ext cx="277813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78D850-778D-4406-9FD7-1F13164C999F}" type="datetime'''1''''''''''''''0''''''''''''''''''''''''''''''''''''1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0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43AE8467-A6AD-414D-A353-A785A061385E}"/>
              </a:ext>
            </a:extLst>
          </p:cNvPr>
          <p:cNvSpPr>
            <a:spLocks noGrp="1"/>
          </p:cNvSpPr>
          <p:nvPr>
            <p:custDataLst>
              <p:tags r:id="rId107"/>
            </p:custDataLst>
          </p:nvPr>
        </p:nvSpPr>
        <p:spPr bwMode="auto">
          <a:xfrm>
            <a:off x="10090150" y="5667375"/>
            <a:ext cx="3111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73612F-2573-414B-9619-63F20AC7D29A}" type="datetime'''''T''o''''''ta''''''''l'''''''''''''''''''''''">
              <a:rPr lang="en-US" altLang="en-US" sz="1200" smtClean="0"/>
              <a:pPr/>
              <a:t>Total</a:t>
            </a:fld>
            <a:endParaRPr lang="en-US" sz="1200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1CD8572-CB63-4D19-822F-E419118618A8}"/>
              </a:ext>
            </a:extLst>
          </p:cNvPr>
          <p:cNvSpPr>
            <a:spLocks noGrp="1"/>
          </p:cNvSpPr>
          <p:nvPr>
            <p:custDataLst>
              <p:tags r:id="rId108"/>
            </p:custDataLst>
          </p:nvPr>
        </p:nvSpPr>
        <p:spPr bwMode="auto">
          <a:xfrm>
            <a:off x="8221663" y="5667375"/>
            <a:ext cx="569913" cy="660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908963-705B-4339-932A-83D6A0B358B7}" type="datetime'''W''hee''''led Impac''''t ''C''ru''s''h''ers'' (VSI/''H''SI)'">
              <a:rPr lang="en-US" altLang="en-US" sz="1200" smtClean="0"/>
              <a:pPr/>
              <a:t>Wheeled Impact Crushers (VSI/HSI)</a:t>
            </a:fld>
            <a:endParaRPr lang="en-US" sz="1200" dirty="0"/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09"/>
            </p:custDataLst>
          </p:nvPr>
        </p:nvSpPr>
        <p:spPr bwMode="gray">
          <a:xfrm>
            <a:off x="1581150" y="5353050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F89021-AEA0-4F7A-A6EC-FDAF73AF1E1A}" type="datetime'''''''6''''7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67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6BE7AC3A-A114-4E5C-96D8-64654F4C336B}"/>
              </a:ext>
            </a:extLst>
          </p:cNvPr>
          <p:cNvSpPr>
            <a:spLocks noGrp="1"/>
          </p:cNvSpPr>
          <p:nvPr>
            <p:custDataLst>
              <p:tags r:id="rId110"/>
            </p:custDataLst>
          </p:nvPr>
        </p:nvSpPr>
        <p:spPr bwMode="auto">
          <a:xfrm>
            <a:off x="1236663" y="5667375"/>
            <a:ext cx="615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799C49-869A-4B1D-9E9A-A4311BC65038}" type="datetime'''''S''c''''''r''''''''''e''''''en''er''''''''''s'''''''''''">
              <a:rPr lang="en-US" altLang="en-US" sz="1200" smtClean="0"/>
              <a:pPr/>
              <a:t>Screeners</a:t>
            </a:fld>
            <a:endParaRPr lang="en-US" sz="1200" dirty="0"/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11"/>
            </p:custDataLst>
          </p:nvPr>
        </p:nvSpPr>
        <p:spPr bwMode="gray">
          <a:xfrm>
            <a:off x="2706688" y="5322888"/>
            <a:ext cx="122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80FF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F3129A6-BB7B-47C6-8FCD-6E48C35C3EAD}" type="datetime'''1'''''''''''''''''''''''''''">
              <a:rPr lang="en-US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200" dirty="0"/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12"/>
            </p:custDataLst>
          </p:nvPr>
        </p:nvSpPr>
        <p:spPr bwMode="gray">
          <a:xfrm>
            <a:off x="2276475" y="5267325"/>
            <a:ext cx="277813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04A59BC-90D4-4887-B40E-8E622FFA54C5}" type="datetime'''''''''''1''''''''''''''''''''0''''''''''''''''''''''3'''''''">
              <a:rPr lang="en-US" altLang="en-US" sz="12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3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CDEAD128-FF4D-4A10-8F71-F869D0786995}"/>
              </a:ext>
            </a:extLst>
          </p:cNvPr>
          <p:cNvSpPr>
            <a:spLocks noGrp="1"/>
          </p:cNvSpPr>
          <p:nvPr>
            <p:custDataLst>
              <p:tags r:id="rId113"/>
            </p:custDataLst>
          </p:nvPr>
        </p:nvSpPr>
        <p:spPr bwMode="auto">
          <a:xfrm>
            <a:off x="2006600" y="5667375"/>
            <a:ext cx="8175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AF3BCC-0450-4F61-A685-D3106D8E314A}" type="datetime'Sta''ti''''c ''Im''pact Cr''u''shers (V''''S''''I/''HS''I)'">
              <a:rPr lang="en-US" altLang="en-US" sz="1200" smtClean="0"/>
              <a:pPr/>
              <a:t>Static Impact Crushers (VSI/HSI)</a:t>
            </a:fld>
            <a:endParaRPr lang="en-US" sz="1200" dirty="0"/>
          </a:p>
        </p:txBody>
      </p:sp>
      <p:sp>
        <p:nvSpPr>
          <p:cNvPr id="19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14"/>
            </p:custDataLst>
          </p:nvPr>
        </p:nvSpPr>
        <p:spPr bwMode="gray">
          <a:xfrm>
            <a:off x="3321050" y="5110163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636FA2-B8BA-447F-89D6-5BAE9C961C45}" type="datetime'1''1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15"/>
            </p:custDataLst>
          </p:nvPr>
        </p:nvSpPr>
        <p:spPr bwMode="gray">
          <a:xfrm>
            <a:off x="3049588" y="5165725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41CCD36-F750-42EE-A45C-D15E3FA22FAD}" type="datetime'''''''''9''''''''''8'''''''''''''">
              <a:rPr lang="en-US" altLang="en-US" sz="12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8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4A10FCC9-AFB9-4985-AF0D-8FEF05F39CAE}"/>
              </a:ext>
            </a:extLst>
          </p:cNvPr>
          <p:cNvSpPr>
            <a:spLocks noGrp="1"/>
          </p:cNvSpPr>
          <p:nvPr>
            <p:custDataLst>
              <p:tags r:id="rId116"/>
            </p:custDataLst>
          </p:nvPr>
        </p:nvSpPr>
        <p:spPr bwMode="auto">
          <a:xfrm>
            <a:off x="2932113" y="5667375"/>
            <a:ext cx="7064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592477-965D-418E-9C11-03FBA8207E10}" type="datetime'''''''St''''''atic'''''''' Con''e ''''C''''''rushers'''''''''">
              <a:rPr lang="en-US" altLang="en-US" sz="1200" smtClean="0"/>
              <a:pPr/>
              <a:t>Static Cone Crushers</a:t>
            </a:fld>
            <a:endParaRPr lang="en-US" sz="1200" dirty="0"/>
          </a:p>
        </p:txBody>
      </p:sp>
      <p:sp>
        <p:nvSpPr>
          <p:cNvPr id="19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17"/>
            </p:custDataLst>
          </p:nvPr>
        </p:nvSpPr>
        <p:spPr bwMode="gray">
          <a:xfrm>
            <a:off x="4230688" y="5022850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823A06-05D3-460D-961F-2E15F7BD5097}" type="datetime'''''''''''''''''''''''''''''''''''''''''''2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2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18"/>
            </p:custDataLst>
          </p:nvPr>
        </p:nvSpPr>
        <p:spPr bwMode="gray">
          <a:xfrm>
            <a:off x="1406525" y="5187950"/>
            <a:ext cx="277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FEB649-9A53-4531-8C2C-356F34EFEBED}" type="datetime'''''2''''''''''''''''''''''1''2'''''''">
              <a:rPr lang="en-US" altLang="en-US" sz="1200" smtClean="0"/>
              <a:pPr/>
              <a:t>212</a:t>
            </a:fld>
            <a:endParaRPr lang="en-US" sz="1200" dirty="0"/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19"/>
            </p:custDataLst>
          </p:nvPr>
        </p:nvSpPr>
        <p:spPr bwMode="gray">
          <a:xfrm>
            <a:off x="2276475" y="5102225"/>
            <a:ext cx="277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7ED2D9-08FF-422D-9F8A-27876136A7BC}" type="datetime'''''''''''''''1''0''''''''''''''''''''''4'''''''''''''''''">
              <a:rPr lang="en-US" altLang="en-US" sz="1200" smtClean="0"/>
              <a:pPr/>
              <a:t>104</a:t>
            </a:fld>
            <a:endParaRPr lang="en-US" sz="1200" dirty="0"/>
          </a:p>
        </p:txBody>
      </p:sp>
      <p:sp>
        <p:nvSpPr>
          <p:cNvPr id="21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20"/>
            </p:custDataLst>
          </p:nvPr>
        </p:nvSpPr>
        <p:spPr bwMode="gray">
          <a:xfrm>
            <a:off x="3146425" y="4945063"/>
            <a:ext cx="277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48FA24-D113-4AA8-8DE4-8D105EA59739}" type="datetime'''''''1''''''''''''0''''''''''''9'''''''''''''''''">
              <a:rPr lang="en-US" altLang="en-US" sz="1200" smtClean="0"/>
              <a:pPr/>
              <a:t>109</a:t>
            </a:fld>
            <a:endParaRPr lang="en-US" sz="1200" dirty="0"/>
          </a:p>
        </p:txBody>
      </p:sp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21"/>
            </p:custDataLst>
          </p:nvPr>
        </p:nvSpPr>
        <p:spPr bwMode="gray">
          <a:xfrm>
            <a:off x="4054475" y="4857750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57BB1F-E9E4-4955-AFFA-9F6DD09D18E1}" type="datetime'''''''''''''8''''2'''''''''''''''''''''''''''''''''''">
              <a:rPr lang="en-US" altLang="en-US" sz="1200" smtClean="0"/>
              <a:pPr/>
              <a:t>82</a:t>
            </a:fld>
            <a:endParaRPr lang="en-US" sz="1200" dirty="0"/>
          </a:p>
        </p:txBody>
      </p:sp>
      <p:sp>
        <p:nvSpPr>
          <p:cNvPr id="22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22"/>
            </p:custDataLst>
          </p:nvPr>
        </p:nvSpPr>
        <p:spPr bwMode="gray">
          <a:xfrm>
            <a:off x="4924425" y="4833938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2AF60D-C9EB-4913-8A64-4558BF4181A1}" type="datetime'2''''5'''''''''''''''''''''''''''''''''''''''''''''''">
              <a:rPr lang="en-US" altLang="en-US" sz="1200" smtClean="0"/>
              <a:pPr/>
              <a:t>25</a:t>
            </a:fld>
            <a:endParaRPr lang="en-US" sz="1200" dirty="0"/>
          </a:p>
        </p:txBody>
      </p:sp>
      <p:sp>
        <p:nvSpPr>
          <p:cNvPr id="22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23"/>
            </p:custDataLst>
          </p:nvPr>
        </p:nvSpPr>
        <p:spPr bwMode="gray">
          <a:xfrm>
            <a:off x="5795963" y="4813300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1A4076-4CCB-480A-958E-2A77629BB69F}" type="datetime'''''''''''''''''''''''''1''''''''9'''''''''''''''''''">
              <a:rPr lang="en-US" altLang="en-US" sz="1200" smtClean="0"/>
              <a:pPr/>
              <a:t>19</a:t>
            </a:fld>
            <a:endParaRPr lang="en-US" sz="1200" dirty="0"/>
          </a:p>
        </p:txBody>
      </p:sp>
      <p:sp>
        <p:nvSpPr>
          <p:cNvPr id="22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24"/>
            </p:custDataLst>
          </p:nvPr>
        </p:nvSpPr>
        <p:spPr bwMode="gray">
          <a:xfrm>
            <a:off x="6665913" y="4778375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9C4CF3-78C2-44C6-9FA4-5496E38EAFA1}" type="datetime'''''''''''''''''''3''''''8'''''''''''''''''''''''''''''''">
              <a:rPr lang="en-US" altLang="en-US" sz="1200" smtClean="0"/>
              <a:pPr/>
              <a:t>38</a:t>
            </a:fld>
            <a:endParaRPr lang="en-US" sz="1200" dirty="0"/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25"/>
            </p:custDataLst>
          </p:nvPr>
        </p:nvSpPr>
        <p:spPr bwMode="gray">
          <a:xfrm>
            <a:off x="7535863" y="4743450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3678D8-F43C-463C-87FA-13C336F8B1B5}" type="datetime'3''''''3'''''''''''''''''">
              <a:rPr lang="en-US" altLang="en-US" sz="1200" smtClean="0"/>
              <a:pPr/>
              <a:t>33</a:t>
            </a:fld>
            <a:endParaRPr lang="en-US" sz="1200" dirty="0"/>
          </a:p>
        </p:txBody>
      </p:sp>
      <p:sp>
        <p:nvSpPr>
          <p:cNvPr id="22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26"/>
            </p:custDataLst>
          </p:nvPr>
        </p:nvSpPr>
        <p:spPr bwMode="gray">
          <a:xfrm>
            <a:off x="8405813" y="4725988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809EE5-BD85-4DD7-93DC-190E3F4B6E3A}" type="datetime'''''''''''''''''''''''''''''''''''''''''''''''''1''''''''4'">
              <a:rPr lang="en-US" altLang="en-US" sz="1200" smtClean="0"/>
              <a:pPr/>
              <a:t>14</a:t>
            </a:fld>
            <a:endParaRPr lang="en-US" sz="1200" dirty="0"/>
          </a:p>
        </p:txBody>
      </p:sp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27"/>
            </p:custDataLst>
          </p:nvPr>
        </p:nvSpPr>
        <p:spPr bwMode="gray">
          <a:xfrm>
            <a:off x="9275763" y="4708525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435D7A-1823-4358-B54A-1556552649F2}" type="datetime'''''''''''''''''''''''''''''''''1''''''''''''8'''''''''''''">
              <a:rPr lang="en-US" altLang="en-US" sz="1200" smtClean="0"/>
              <a:pPr/>
              <a:t>18</a:t>
            </a:fld>
            <a:endParaRPr lang="en-US" sz="1200" dirty="0"/>
          </a:p>
        </p:txBody>
      </p:sp>
      <p:sp>
        <p:nvSpPr>
          <p:cNvPr id="227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28"/>
            </p:custDataLst>
          </p:nvPr>
        </p:nvSpPr>
        <p:spPr bwMode="gray">
          <a:xfrm>
            <a:off x="10107613" y="4098925"/>
            <a:ext cx="277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2EBAB4-F226-459A-83B6-2285AE52FD44}" type="datetime'''''''''''''6''''''''''''''''''''''''''''''5''''''4'">
              <a:rPr lang="en-US" altLang="en-US" sz="1200" smtClean="0"/>
              <a:pPr/>
              <a:t>654</a:t>
            </a:fld>
            <a:endParaRPr lang="en-US" sz="1200" dirty="0"/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48A9743C-0EC2-4BCE-BB14-383C11982A80}"/>
              </a:ext>
            </a:extLst>
          </p:cNvPr>
          <p:cNvCxnSpPr>
            <a:cxnSpLocks/>
          </p:cNvCxnSpPr>
          <p:nvPr/>
        </p:nvCxnSpPr>
        <p:spPr>
          <a:xfrm flipV="1">
            <a:off x="349518" y="4060190"/>
            <a:ext cx="11497995" cy="91205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9E5EC1E2-6C0A-47DF-B5A6-240BA3BF2B80}"/>
              </a:ext>
            </a:extLst>
          </p:cNvPr>
          <p:cNvCxnSpPr>
            <a:cxnSpLocks/>
          </p:cNvCxnSpPr>
          <p:nvPr/>
        </p:nvCxnSpPr>
        <p:spPr>
          <a:xfrm flipV="1">
            <a:off x="6153151" y="1566863"/>
            <a:ext cx="0" cy="2294363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>
            <a:extLst>
              <a:ext uri="{FF2B5EF4-FFF2-40B4-BE49-F238E27FC236}">
                <a16:creationId xmlns:a16="http://schemas.microsoft.com/office/drawing/2014/main" id="{0F45B53C-05F1-485B-B39F-59D19E8B0D8D}"/>
              </a:ext>
            </a:extLst>
          </p:cNvPr>
          <p:cNvSpPr/>
          <p:nvPr/>
        </p:nvSpPr>
        <p:spPr>
          <a:xfrm>
            <a:off x="441325" y="1590675"/>
            <a:ext cx="468313" cy="1606601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CCAD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1E50A0"/>
                </a:solidFill>
              </a:rPr>
              <a:t>Concrete Equipment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53ADCD77-1AEB-419B-B7B7-99DFAAF49CB2}"/>
              </a:ext>
            </a:extLst>
          </p:cNvPr>
          <p:cNvSpPr/>
          <p:nvPr/>
        </p:nvSpPr>
        <p:spPr>
          <a:xfrm>
            <a:off x="457200" y="4295724"/>
            <a:ext cx="461963" cy="1606601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CCAD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1E50A0"/>
                </a:solidFill>
              </a:rPr>
              <a:t>Material Processing Equipment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604FA94D-7C49-418C-AC55-C85181C0FF18}"/>
              </a:ext>
            </a:extLst>
          </p:cNvPr>
          <p:cNvSpPr/>
          <p:nvPr/>
        </p:nvSpPr>
        <p:spPr>
          <a:xfrm>
            <a:off x="6226494" y="1619224"/>
            <a:ext cx="461963" cy="1606601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CCAD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1E50A0"/>
                </a:solidFill>
              </a:rPr>
              <a:t>Road Construction Equipment</a:t>
            </a: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EAD0BFA8-E7D6-4E29-9DEB-3EF3B8CD458B}"/>
              </a:ext>
            </a:extLst>
          </p:cNvPr>
          <p:cNvSpPr>
            <a:spLocks/>
          </p:cNvSpPr>
          <p:nvPr/>
        </p:nvSpPr>
        <p:spPr>
          <a:xfrm>
            <a:off x="1220894" y="6367346"/>
            <a:ext cx="674688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32%</a:t>
            </a: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AB3635D9-A3D9-40C5-A3AB-6D20197EE07D}"/>
              </a:ext>
            </a:extLst>
          </p:cNvPr>
          <p:cNvSpPr>
            <a:spLocks/>
          </p:cNvSpPr>
          <p:nvPr/>
        </p:nvSpPr>
        <p:spPr>
          <a:xfrm>
            <a:off x="2095606" y="6367346"/>
            <a:ext cx="674688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16%</a:t>
            </a: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F5050A4F-8C17-43A6-A362-CD7FBFB2A678}"/>
              </a:ext>
            </a:extLst>
          </p:cNvPr>
          <p:cNvSpPr>
            <a:spLocks/>
          </p:cNvSpPr>
          <p:nvPr/>
        </p:nvSpPr>
        <p:spPr>
          <a:xfrm>
            <a:off x="2970319" y="6367346"/>
            <a:ext cx="674688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17%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4B8CBF43-3D1E-4FBC-AC22-C80525855B21}"/>
              </a:ext>
            </a:extLst>
          </p:cNvPr>
          <p:cNvSpPr>
            <a:spLocks/>
          </p:cNvSpPr>
          <p:nvPr/>
        </p:nvSpPr>
        <p:spPr>
          <a:xfrm>
            <a:off x="3845031" y="6367346"/>
            <a:ext cx="673100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13%</a:t>
            </a: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0EBB6CB9-665D-48D2-BC21-E83DA1A4C7C3}"/>
              </a:ext>
            </a:extLst>
          </p:cNvPr>
          <p:cNvSpPr>
            <a:spLocks/>
          </p:cNvSpPr>
          <p:nvPr/>
        </p:nvSpPr>
        <p:spPr>
          <a:xfrm>
            <a:off x="4719744" y="6375786"/>
            <a:ext cx="673100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4%</a:t>
            </a: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83A83FDC-6A75-4AA0-8D75-B0D8FA2F0C23}"/>
              </a:ext>
            </a:extLst>
          </p:cNvPr>
          <p:cNvSpPr>
            <a:spLocks/>
          </p:cNvSpPr>
          <p:nvPr/>
        </p:nvSpPr>
        <p:spPr>
          <a:xfrm>
            <a:off x="5592869" y="6367346"/>
            <a:ext cx="674688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3%</a:t>
            </a: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985A01F5-BFD0-40C9-9E97-BAF24E77CF6E}"/>
              </a:ext>
            </a:extLst>
          </p:cNvPr>
          <p:cNvSpPr>
            <a:spLocks/>
          </p:cNvSpPr>
          <p:nvPr/>
        </p:nvSpPr>
        <p:spPr>
          <a:xfrm>
            <a:off x="6467581" y="6367346"/>
            <a:ext cx="674688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6%</a:t>
            </a: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30CC5263-85B5-4B11-9E8B-E22CA7ABE191}"/>
              </a:ext>
            </a:extLst>
          </p:cNvPr>
          <p:cNvSpPr>
            <a:spLocks/>
          </p:cNvSpPr>
          <p:nvPr/>
        </p:nvSpPr>
        <p:spPr>
          <a:xfrm>
            <a:off x="7342294" y="6367346"/>
            <a:ext cx="674688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5%</a:t>
            </a: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3BAF0373-43F0-48D6-8D76-9E5E4D6D31BE}"/>
              </a:ext>
            </a:extLst>
          </p:cNvPr>
          <p:cNvSpPr>
            <a:spLocks/>
          </p:cNvSpPr>
          <p:nvPr/>
        </p:nvSpPr>
        <p:spPr>
          <a:xfrm>
            <a:off x="808197" y="3733163"/>
            <a:ext cx="673100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57 %</a:t>
            </a: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925BD827-F42E-440F-ADA4-3132B4E4BFB4}"/>
              </a:ext>
            </a:extLst>
          </p:cNvPr>
          <p:cNvSpPr>
            <a:spLocks/>
          </p:cNvSpPr>
          <p:nvPr/>
        </p:nvSpPr>
        <p:spPr>
          <a:xfrm>
            <a:off x="3132297" y="3733163"/>
            <a:ext cx="674688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7%</a:t>
            </a: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C49B97E2-6DF6-42D7-9338-27F666BD441E}"/>
              </a:ext>
            </a:extLst>
          </p:cNvPr>
          <p:cNvSpPr>
            <a:spLocks/>
          </p:cNvSpPr>
          <p:nvPr/>
        </p:nvSpPr>
        <p:spPr>
          <a:xfrm>
            <a:off x="3930810" y="3733163"/>
            <a:ext cx="674688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3%</a:t>
            </a: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12DADFD5-3F1E-4894-B47D-FD349BE037A7}"/>
              </a:ext>
            </a:extLst>
          </p:cNvPr>
          <p:cNvSpPr>
            <a:spLocks/>
          </p:cNvSpPr>
          <p:nvPr/>
        </p:nvSpPr>
        <p:spPr>
          <a:xfrm>
            <a:off x="4718210" y="3733163"/>
            <a:ext cx="674688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1%</a:t>
            </a:r>
          </a:p>
        </p:txBody>
      </p:sp>
      <p:sp>
        <p:nvSpPr>
          <p:cNvPr id="68" name="ee4pFootnotes">
            <a:extLst>
              <a:ext uri="{FF2B5EF4-FFF2-40B4-BE49-F238E27FC236}">
                <a16:creationId xmlns:a16="http://schemas.microsoft.com/office/drawing/2014/main" id="{E1A0068C-9E13-4498-AF83-0CF13FE28F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349" y="6626156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sym typeface="Trebuchet MS" panose="020B0603020202020204" pitchFamily="34" charset="0"/>
              </a:rPr>
              <a:t>Source: ICEMA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0654C94-CEE6-42F1-B7DF-31E35818C8B8}"/>
              </a:ext>
            </a:extLst>
          </p:cNvPr>
          <p:cNvSpPr txBox="1"/>
          <p:nvPr/>
        </p:nvSpPr>
        <p:spPr>
          <a:xfrm>
            <a:off x="695991" y="1040102"/>
            <a:ext cx="904875" cy="1682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sym typeface="Trebuchet MS" panose="020B0603020202020204" pitchFamily="34" charset="0"/>
              </a:rPr>
              <a:t>Units sold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F3037F68-1AB3-4514-9A0B-49E92CDBC6B2}"/>
              </a:ext>
            </a:extLst>
          </p:cNvPr>
          <p:cNvSpPr/>
          <p:nvPr/>
        </p:nvSpPr>
        <p:spPr>
          <a:xfrm>
            <a:off x="11177988" y="3885939"/>
            <a:ext cx="101809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400" b="1" dirty="0">
                <a:solidFill>
                  <a:srgbClr val="1E50A0"/>
                </a:solidFill>
                <a:sym typeface="Trebuchet MS" panose="020B0603020202020204" pitchFamily="34" charset="0"/>
              </a:rPr>
              <a:t>% sales share 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BEB7DF53-D5C7-4D2D-8909-08CCB07FA0DC}"/>
              </a:ext>
            </a:extLst>
          </p:cNvPr>
          <p:cNvSpPr/>
          <p:nvPr/>
        </p:nvSpPr>
        <p:spPr>
          <a:xfrm>
            <a:off x="11178160" y="5983934"/>
            <a:ext cx="1071651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400" b="1" dirty="0">
                <a:solidFill>
                  <a:srgbClr val="1E50A0"/>
                </a:solidFill>
                <a:sym typeface="Trebuchet MS" panose="020B0603020202020204" pitchFamily="34" charset="0"/>
              </a:rPr>
              <a:t>% sales share </a:t>
            </a:r>
          </a:p>
        </p:txBody>
      </p:sp>
      <p:sp>
        <p:nvSpPr>
          <p:cNvPr id="80" name="Title 1">
            <a:extLst>
              <a:ext uri="{FF2B5EF4-FFF2-40B4-BE49-F238E27FC236}">
                <a16:creationId xmlns:a16="http://schemas.microsoft.com/office/drawing/2014/main" id="{E3AE6A6A-9382-3240-6BBA-0C63449FC66B}"/>
              </a:ext>
            </a:extLst>
          </p:cNvPr>
          <p:cNvSpPr txBox="1">
            <a:spLocks/>
          </p:cNvSpPr>
          <p:nvPr/>
        </p:nvSpPr>
        <p:spPr>
          <a:xfrm>
            <a:off x="433239" y="218152"/>
            <a:ext cx="10933350" cy="3323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1E50A0"/>
                </a:solidFill>
                <a:latin typeface="+mn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b="1" dirty="0">
                <a:solidFill>
                  <a:schemeClr val="bg1"/>
                </a:solidFill>
              </a:rPr>
              <a:t>Q1 FY24 : Sub-category wise sales composition (II/II)</a:t>
            </a:r>
            <a:endParaRPr lang="en-US" b="1" dirty="0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C9409B6D-0869-4B22-B14B-F4D2F9C68661}"/>
              </a:ext>
            </a:extLst>
          </p:cNvPr>
          <p:cNvSpPr>
            <a:spLocks/>
          </p:cNvSpPr>
          <p:nvPr/>
        </p:nvSpPr>
        <p:spPr>
          <a:xfrm>
            <a:off x="2397285" y="3733163"/>
            <a:ext cx="674688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10%</a:t>
            </a: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4EC691EC-54AA-49F5-8FDB-3BE3D5CA4D2C}"/>
              </a:ext>
            </a:extLst>
          </p:cNvPr>
          <p:cNvSpPr>
            <a:spLocks/>
          </p:cNvSpPr>
          <p:nvPr/>
        </p:nvSpPr>
        <p:spPr>
          <a:xfrm>
            <a:off x="1603535" y="3733163"/>
            <a:ext cx="674688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21%</a:t>
            </a: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0186AD9A-15FE-4A9E-BDC8-2D3318A0C6F7}"/>
              </a:ext>
            </a:extLst>
          </p:cNvPr>
          <p:cNvSpPr>
            <a:spLocks/>
          </p:cNvSpPr>
          <p:nvPr/>
        </p:nvSpPr>
        <p:spPr>
          <a:xfrm>
            <a:off x="8217006" y="6367346"/>
            <a:ext cx="673100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2%</a:t>
            </a: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73DBE80C-429F-461D-8304-C03866A5BFBD}"/>
              </a:ext>
            </a:extLst>
          </p:cNvPr>
          <p:cNvSpPr>
            <a:spLocks/>
          </p:cNvSpPr>
          <p:nvPr/>
        </p:nvSpPr>
        <p:spPr>
          <a:xfrm>
            <a:off x="9090131" y="6367346"/>
            <a:ext cx="674688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3%</a:t>
            </a:r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7FD50288-A256-4B3B-8DB8-D004A82222FA}"/>
              </a:ext>
            </a:extLst>
          </p:cNvPr>
          <p:cNvSpPr>
            <a:spLocks/>
          </p:cNvSpPr>
          <p:nvPr/>
        </p:nvSpPr>
        <p:spPr>
          <a:xfrm>
            <a:off x="6716731" y="3744912"/>
            <a:ext cx="588945" cy="185738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44%</a:t>
            </a:r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5F911DAB-1FE6-4C57-A0B8-D1AC376B019A}"/>
              </a:ext>
            </a:extLst>
          </p:cNvPr>
          <p:cNvSpPr>
            <a:spLocks/>
          </p:cNvSpPr>
          <p:nvPr/>
        </p:nvSpPr>
        <p:spPr>
          <a:xfrm>
            <a:off x="7435317" y="3744947"/>
            <a:ext cx="588945" cy="185738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36%</a:t>
            </a:r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E628D926-CBC5-4956-BD0A-4DD5E9470055}"/>
              </a:ext>
            </a:extLst>
          </p:cNvPr>
          <p:cNvSpPr>
            <a:spLocks/>
          </p:cNvSpPr>
          <p:nvPr/>
        </p:nvSpPr>
        <p:spPr>
          <a:xfrm>
            <a:off x="8180517" y="3736530"/>
            <a:ext cx="588945" cy="185738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10%</a:t>
            </a:r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E3CE87A4-45B9-46B0-9D64-5B8B91850593}"/>
              </a:ext>
            </a:extLst>
          </p:cNvPr>
          <p:cNvSpPr>
            <a:spLocks/>
          </p:cNvSpPr>
          <p:nvPr/>
        </p:nvSpPr>
        <p:spPr>
          <a:xfrm>
            <a:off x="8838530" y="3728243"/>
            <a:ext cx="588945" cy="185738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5%</a:t>
            </a:r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8C145BC1-8A9C-40F8-BE2E-75593012E648}"/>
              </a:ext>
            </a:extLst>
          </p:cNvPr>
          <p:cNvSpPr>
            <a:spLocks/>
          </p:cNvSpPr>
          <p:nvPr/>
        </p:nvSpPr>
        <p:spPr>
          <a:xfrm>
            <a:off x="9496120" y="3727802"/>
            <a:ext cx="588945" cy="185738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2%</a:t>
            </a:r>
          </a:p>
        </p:txBody>
      </p:sp>
      <p:sp>
        <p:nvSpPr>
          <p:cNvPr id="118" name="Oval 117">
            <a:extLst>
              <a:ext uri="{FF2B5EF4-FFF2-40B4-BE49-F238E27FC236}">
                <a16:creationId xmlns:a16="http://schemas.microsoft.com/office/drawing/2014/main" id="{228C1C07-62E7-4128-B840-BB559FD7D4E5}"/>
              </a:ext>
            </a:extLst>
          </p:cNvPr>
          <p:cNvSpPr>
            <a:spLocks/>
          </p:cNvSpPr>
          <p:nvPr/>
        </p:nvSpPr>
        <p:spPr>
          <a:xfrm>
            <a:off x="10147000" y="3722687"/>
            <a:ext cx="588945" cy="185738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~2%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F73633E-78DE-4A09-806F-8299F4DBC472}"/>
              </a:ext>
            </a:extLst>
          </p:cNvPr>
          <p:cNvSpPr/>
          <p:nvPr>
            <p:custDataLst>
              <p:tags r:id="rId129"/>
            </p:custDataLst>
          </p:nvPr>
        </p:nvSpPr>
        <p:spPr bwMode="gray">
          <a:xfrm>
            <a:off x="10390188" y="925513"/>
            <a:ext cx="214313" cy="160338"/>
          </a:xfrm>
          <a:prstGeom prst="rect">
            <a:avLst/>
          </a:prstGeom>
          <a:solidFill>
            <a:srgbClr val="0080F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579A386D-BDCB-4CF0-BBD4-494483A83909}"/>
              </a:ext>
            </a:extLst>
          </p:cNvPr>
          <p:cNvSpPr/>
          <p:nvPr>
            <p:custDataLst>
              <p:tags r:id="rId130"/>
            </p:custDataLst>
          </p:nvPr>
        </p:nvSpPr>
        <p:spPr bwMode="gray">
          <a:xfrm>
            <a:off x="11222038" y="925513"/>
            <a:ext cx="214313" cy="160338"/>
          </a:xfrm>
          <a:prstGeom prst="rect">
            <a:avLst/>
          </a:prstGeom>
          <a:solidFill>
            <a:srgbClr val="1E50A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31"/>
            </p:custDataLst>
          </p:nvPr>
        </p:nvSpPr>
        <p:spPr bwMode="auto">
          <a:xfrm>
            <a:off x="10655300" y="933450"/>
            <a:ext cx="4651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5FBB728-1B29-44F2-A79A-0C8214F24222}" type="datetime'''E''''''''x''p''''''''o''r''t''''s'''''''''''''''''">
              <a:rPr lang="en-US" altLang="en-US" sz="1200" smtClean="0"/>
              <a:pPr/>
              <a:t>Exports</a:t>
            </a:fld>
            <a:endParaRPr lang="en-US" sz="1200" dirty="0"/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3066128F-C478-48A4-96CA-CB5884A0263E}"/>
              </a:ext>
            </a:extLst>
          </p:cNvPr>
          <p:cNvSpPr>
            <a:spLocks noGrp="1"/>
          </p:cNvSpPr>
          <p:nvPr>
            <p:custDataLst>
              <p:tags r:id="rId132"/>
            </p:custDataLst>
          </p:nvPr>
        </p:nvSpPr>
        <p:spPr bwMode="auto">
          <a:xfrm>
            <a:off x="11487150" y="933450"/>
            <a:ext cx="5826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6F4202C-2D84-43F6-BD6F-A4AC6E696988}" type="datetime'''''''''''Do''m''''''''''''''''e''''''s''''''''''t''ic'''">
              <a:rPr lang="en-US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omestic</a:t>
            </a:fld>
            <a:endParaRPr lang="en-US" sz="1200" dirty="0"/>
          </a:p>
        </p:txBody>
      </p:sp>
      <p:sp>
        <p:nvSpPr>
          <p:cNvPr id="209" name="Oval 208">
            <a:extLst>
              <a:ext uri="{FF2B5EF4-FFF2-40B4-BE49-F238E27FC236}">
                <a16:creationId xmlns:a16="http://schemas.microsoft.com/office/drawing/2014/main" id="{4A44CDC2-1C8F-E3B2-1192-B3A37F341495}"/>
              </a:ext>
            </a:extLst>
          </p:cNvPr>
          <p:cNvSpPr>
            <a:spLocks/>
          </p:cNvSpPr>
          <p:nvPr/>
        </p:nvSpPr>
        <p:spPr>
          <a:xfrm>
            <a:off x="10782213" y="3729514"/>
            <a:ext cx="588945" cy="185738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1%</a:t>
            </a:r>
          </a:p>
        </p:txBody>
      </p:sp>
    </p:spTree>
    <p:extLst>
      <p:ext uri="{BB962C8B-B14F-4D97-AF65-F5344CB8AC3E}">
        <p14:creationId xmlns:p14="http://schemas.microsoft.com/office/powerpoint/2010/main" val="345763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E10CF79-2CBE-41C8-8480-C0CB7749B3D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8682" y="2659780"/>
            <a:ext cx="6731363" cy="1019331"/>
          </a:xfrm>
        </p:spPr>
        <p:txBody>
          <a:bodyPr>
            <a:normAutofit/>
          </a:bodyPr>
          <a:lstStyle/>
          <a:p>
            <a:r>
              <a:rPr lang="en-US" sz="3600" dirty="0"/>
              <a:t>Monthly Summary</a:t>
            </a:r>
            <a:endParaRPr lang="en-IN" sz="3600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9E5903F-08ED-4B7C-8901-68A16243CC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8682" y="3401403"/>
            <a:ext cx="6731363" cy="555416"/>
          </a:xfrm>
        </p:spPr>
        <p:txBody>
          <a:bodyPr>
            <a:normAutofit/>
          </a:bodyPr>
          <a:lstStyle/>
          <a:p>
            <a:r>
              <a:rPr lang="en-US" sz="2400" dirty="0"/>
              <a:t>Category Level Performance</a:t>
            </a:r>
            <a:endParaRPr lang="en-IN" sz="2400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E007378-F195-414E-9E62-BD71D14DFE55}"/>
              </a:ext>
            </a:extLst>
          </p:cNvPr>
          <p:cNvCxnSpPr>
            <a:cxnSpLocks/>
          </p:cNvCxnSpPr>
          <p:nvPr/>
        </p:nvCxnSpPr>
        <p:spPr>
          <a:xfrm>
            <a:off x="908191" y="3313041"/>
            <a:ext cx="4525200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52371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Object 107" hidden="1">
            <a:extLst>
              <a:ext uri="{FF2B5EF4-FFF2-40B4-BE49-F238E27FC236}">
                <a16:creationId xmlns:a16="http://schemas.microsoft.com/office/drawing/2014/main" id="{0D2EC870-247B-4A34-BB53-00FE208689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5937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5" imgW="395" imgH="394" progId="TCLayout.ActiveDocument.1">
                  <p:embed/>
                </p:oleObj>
              </mc:Choice>
              <mc:Fallback>
                <p:oleObj name="think-cell Slide" r:id="rId125" imgW="395" imgH="394" progId="TCLayout.ActiveDocument.1">
                  <p:embed/>
                  <p:pic>
                    <p:nvPicPr>
                      <p:cNvPr id="108" name="Object 107" hidden="1">
                        <a:extLst>
                          <a:ext uri="{FF2B5EF4-FFF2-40B4-BE49-F238E27FC236}">
                            <a16:creationId xmlns:a16="http://schemas.microsoft.com/office/drawing/2014/main" id="{0D2EC870-247B-4A34-BB53-00FE208689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B86E-EDE3-4634-B0B5-516E1D6241E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BBC4F53-FDE5-4CB5-B03C-D0AC408B33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470" y="159241"/>
            <a:ext cx="11794709" cy="332399"/>
          </a:xfrm>
        </p:spPr>
        <p:txBody>
          <a:bodyPr vert="horz"/>
          <a:lstStyle/>
          <a:p>
            <a:r>
              <a:rPr lang="en-US" dirty="0">
                <a:solidFill>
                  <a:schemeClr val="bg1"/>
                </a:solidFill>
              </a:rPr>
              <a:t>Construction equipment sales registered YoY growth of 18% in June’23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8CFE03-43BE-4DD4-9521-D81267300EB9}"/>
              </a:ext>
            </a:extLst>
          </p:cNvPr>
          <p:cNvSpPr/>
          <p:nvPr/>
        </p:nvSpPr>
        <p:spPr>
          <a:xfrm>
            <a:off x="674848" y="1671767"/>
            <a:ext cx="335632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400" dirty="0">
                <a:solidFill>
                  <a:srgbClr val="1E50A0"/>
                </a:solidFill>
                <a:sym typeface="Trebuchet MS" panose="020B0603020202020204" pitchFamily="34" charset="0"/>
              </a:rPr>
              <a:t>Monthly sales across all equipment categories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FCE0EA7F-61B7-4D62-8515-B7BDF16235A3}"/>
              </a:ext>
            </a:extLst>
          </p:cNvPr>
          <p:cNvGrpSpPr/>
          <p:nvPr/>
        </p:nvGrpSpPr>
        <p:grpSpPr>
          <a:xfrm>
            <a:off x="4194004" y="1177609"/>
            <a:ext cx="306171" cy="5148754"/>
            <a:chOff x="4194004" y="1177609"/>
            <a:chExt cx="306171" cy="5148754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C071481-7A66-42FE-9D9A-EAAAD24E10FF}"/>
                </a:ext>
              </a:extLst>
            </p:cNvPr>
            <p:cNvCxnSpPr/>
            <p:nvPr/>
          </p:nvCxnSpPr>
          <p:spPr>
            <a:xfrm>
              <a:off x="4347090" y="1177609"/>
              <a:ext cx="0" cy="5148754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08F6007F-532C-490F-9104-BB80A64D21EE}"/>
                </a:ext>
              </a:extLst>
            </p:cNvPr>
            <p:cNvGrpSpPr/>
            <p:nvPr/>
          </p:nvGrpSpPr>
          <p:grpSpPr>
            <a:xfrm>
              <a:off x="4194004" y="3598531"/>
              <a:ext cx="306171" cy="306910"/>
              <a:chOff x="5937564" y="3833745"/>
              <a:chExt cx="306171" cy="306910"/>
            </a:xfrm>
          </p:grpSpPr>
          <p:sp>
            <p:nvSpPr>
              <p:cNvPr id="22" name="Freeform 94">
                <a:extLst>
                  <a:ext uri="{FF2B5EF4-FFF2-40B4-BE49-F238E27FC236}">
                    <a16:creationId xmlns:a16="http://schemas.microsoft.com/office/drawing/2014/main" id="{DACF5742-62C9-43E1-BCE7-AC2200CF972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23" name="Freeform 95">
                <a:extLst>
                  <a:ext uri="{FF2B5EF4-FFF2-40B4-BE49-F238E27FC236}">
                    <a16:creationId xmlns:a16="http://schemas.microsoft.com/office/drawing/2014/main" id="{D4DD1921-45E0-4FCE-8C61-D5E21F6A3F1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</p:grp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48C6B6A-EE22-475E-BEE7-006FDCCB6AE1}"/>
              </a:ext>
            </a:extLst>
          </p:cNvPr>
          <p:cNvCxnSpPr/>
          <p:nvPr/>
        </p:nvCxnSpPr>
        <p:spPr>
          <a:xfrm>
            <a:off x="4708525" y="2794531"/>
            <a:ext cx="6854825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07E00DD-660D-4E35-B5B8-6A0468A23351}"/>
              </a:ext>
            </a:extLst>
          </p:cNvPr>
          <p:cNvCxnSpPr/>
          <p:nvPr/>
        </p:nvCxnSpPr>
        <p:spPr>
          <a:xfrm>
            <a:off x="4708525" y="4637526"/>
            <a:ext cx="6854825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5B5D043-044D-4ED3-949B-6B38C5EF27ED}"/>
              </a:ext>
            </a:extLst>
          </p:cNvPr>
          <p:cNvCxnSpPr>
            <a:cxnSpLocks/>
          </p:cNvCxnSpPr>
          <p:nvPr/>
        </p:nvCxnSpPr>
        <p:spPr>
          <a:xfrm flipV="1">
            <a:off x="8078788" y="2948687"/>
            <a:ext cx="0" cy="1606601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96">
            <a:extLst>
              <a:ext uri="{FF2B5EF4-FFF2-40B4-BE49-F238E27FC236}">
                <a16:creationId xmlns:a16="http://schemas.microsoft.com/office/drawing/2014/main" id="{740779A1-E91B-4C88-8D76-42A836C567A0}"/>
              </a:ext>
            </a:extLst>
          </p:cNvPr>
          <p:cNvSpPr/>
          <p:nvPr/>
        </p:nvSpPr>
        <p:spPr>
          <a:xfrm>
            <a:off x="4708525" y="1130300"/>
            <a:ext cx="468313" cy="1606550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CCAD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1E50A0"/>
                </a:solidFill>
              </a:rPr>
              <a:t>Earthmoving Equipment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FBDAA5CA-BD2B-4992-A285-EA3B4B79B1C4}"/>
              </a:ext>
            </a:extLst>
          </p:cNvPr>
          <p:cNvSpPr/>
          <p:nvPr/>
        </p:nvSpPr>
        <p:spPr>
          <a:xfrm>
            <a:off x="4708525" y="2948687"/>
            <a:ext cx="461963" cy="1606601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CCAD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1E50A0"/>
                </a:solidFill>
              </a:rPr>
              <a:t>Road Construction Equipment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06DF792B-E74A-4428-8B11-B1455F114A91}"/>
              </a:ext>
            </a:extLst>
          </p:cNvPr>
          <p:cNvSpPr/>
          <p:nvPr/>
        </p:nvSpPr>
        <p:spPr>
          <a:xfrm>
            <a:off x="6092825" y="4719763"/>
            <a:ext cx="468313" cy="1606601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CCAD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1E50A0"/>
                </a:solidFill>
              </a:rPr>
              <a:t>Concrete Equipment</a:t>
            </a:r>
          </a:p>
        </p:txBody>
      </p:sp>
      <p:sp>
        <p:nvSpPr>
          <p:cNvPr id="110" name="ee4pFootnotes">
            <a:extLst>
              <a:ext uri="{FF2B5EF4-FFF2-40B4-BE49-F238E27FC236}">
                <a16:creationId xmlns:a16="http://schemas.microsoft.com/office/drawing/2014/main" id="{71513EC0-54C9-4551-B302-183E50F10C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325" y="6516185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sym typeface="Trebuchet MS" panose="020B0603020202020204" pitchFamily="34" charset="0"/>
              </a:rPr>
              <a:t>Source: ICEMA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37F7995A-D56D-4A57-83CB-5A42FE74854E}"/>
              </a:ext>
            </a:extLst>
          </p:cNvPr>
          <p:cNvSpPr/>
          <p:nvPr/>
        </p:nvSpPr>
        <p:spPr>
          <a:xfrm>
            <a:off x="8234363" y="1130300"/>
            <a:ext cx="468313" cy="1606550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CCAD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1E50A0"/>
                </a:solidFill>
              </a:rPr>
              <a:t>Material Handling Equipment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8196DE5D-59D3-424E-A64A-71CDDD677ABB}"/>
              </a:ext>
            </a:extLst>
          </p:cNvPr>
          <p:cNvSpPr/>
          <p:nvPr/>
        </p:nvSpPr>
        <p:spPr>
          <a:xfrm>
            <a:off x="8237538" y="2948687"/>
            <a:ext cx="461963" cy="1606601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CCAD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1E50A0"/>
                </a:solidFill>
              </a:rPr>
              <a:t>Material Processing Equipment</a:t>
            </a:r>
          </a:p>
        </p:txBody>
      </p: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3DF2CCE8-C531-4537-B2DD-2C5117B2B65F}"/>
              </a:ext>
            </a:extLst>
          </p:cNvPr>
          <p:cNvCxnSpPr>
            <a:cxnSpLocks/>
          </p:cNvCxnSpPr>
          <p:nvPr/>
        </p:nvCxnSpPr>
        <p:spPr>
          <a:xfrm flipV="1">
            <a:off x="8108952" y="1177609"/>
            <a:ext cx="0" cy="1606601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 hidden="1">
            <a:extLst>
              <a:ext uri="{FF2B5EF4-FFF2-40B4-BE49-F238E27FC236}">
                <a16:creationId xmlns:a16="http://schemas.microsoft.com/office/drawing/2014/main" id="{8774DFAE-38E3-49A3-9DA0-FCE431FBCCE1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165" name="Rectangle 164" hidden="1">
            <a:extLst>
              <a:ext uri="{FF2B5EF4-FFF2-40B4-BE49-F238E27FC236}">
                <a16:creationId xmlns:a16="http://schemas.microsoft.com/office/drawing/2014/main" id="{C6161148-50E2-4E34-89A8-27C0C2FF874D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237" name="Rectangle 236" hidden="1">
            <a:extLst>
              <a:ext uri="{FF2B5EF4-FFF2-40B4-BE49-F238E27FC236}">
                <a16:creationId xmlns:a16="http://schemas.microsoft.com/office/drawing/2014/main" id="{5F434D3E-93CC-4981-BF0F-15CC7F69C4B7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200" dirty="0">
              <a:latin typeface="Calibri" panose="020F0502020204030204" pitchFamily="34" charset="0"/>
              <a:sym typeface="+mn-lt"/>
            </a:endParaRPr>
          </a:p>
        </p:txBody>
      </p:sp>
      <p:graphicFrame>
        <p:nvGraphicFramePr>
          <p:cNvPr id="51" name="Chart 50">
            <a:extLst>
              <a:ext uri="{FF2B5EF4-FFF2-40B4-BE49-F238E27FC236}">
                <a16:creationId xmlns:a16="http://schemas.microsoft.com/office/drawing/2014/main" id="{F306CDAA-84C2-E1F7-27F1-E2E5B974C4E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89137656"/>
              </p:ext>
            </p:extLst>
          </p:nvPr>
        </p:nvGraphicFramePr>
        <p:xfrm>
          <a:off x="500063" y="3038475"/>
          <a:ext cx="3368675" cy="2649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7"/>
          </a:graphicData>
        </a:graphic>
      </p:graphicFrame>
      <p:cxnSp>
        <p:nvCxnSpPr>
          <p:cNvPr id="568" name="Straight Connector 567">
            <a:extLst>
              <a:ext uri="{FF2B5EF4-FFF2-40B4-BE49-F238E27FC236}">
                <a16:creationId xmlns:a16="http://schemas.microsoft.com/office/drawing/2014/main" id="{8678B403-3D11-B872-26EE-56C905CA313F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 flipV="1">
            <a:off x="1116013" y="2528889"/>
            <a:ext cx="0" cy="75882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9" name="Straight Connector 568">
            <a:extLst>
              <a:ext uri="{FF2B5EF4-FFF2-40B4-BE49-F238E27FC236}">
                <a16:creationId xmlns:a16="http://schemas.microsoft.com/office/drawing/2014/main" id="{8D8ED975-C7D1-ACE4-2DB6-2D6A3233B3E2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gray">
          <a:xfrm>
            <a:off x="1116013" y="2528888"/>
            <a:ext cx="8842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F6B6956A-4394-4C82-0880-899C02092BF2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2403475" y="2528888"/>
            <a:ext cx="88582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5" name="Straight Connector 574">
            <a:extLst>
              <a:ext uri="{FF2B5EF4-FFF2-40B4-BE49-F238E27FC236}">
                <a16:creationId xmlns:a16="http://schemas.microsoft.com/office/drawing/2014/main" id="{73BACAE7-5AB7-E6A2-9DA2-C5E06BFBC2AB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3289300" y="2528889"/>
            <a:ext cx="0" cy="38417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5B7F922B-B572-A634-9857-0406A9748C02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gray">
          <a:xfrm flipV="1">
            <a:off x="2184400" y="2760663"/>
            <a:ext cx="0" cy="9525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92F63A7A-6FE4-876E-2094-5D9FC4EB00B4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2184400" y="2760663"/>
            <a:ext cx="33337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D5BDD49C-8CA7-4399-3094-841398305398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2879725" y="2760663"/>
            <a:ext cx="33337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A7F8BD58-7329-0E84-9574-7FE78ED418C2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3213100" y="2760663"/>
            <a:ext cx="0" cy="15240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6" name="Text Placeholder 3">
            <a:extLst>
              <a:ext uri="{FF2B5EF4-FFF2-40B4-BE49-F238E27FC236}">
                <a16:creationId xmlns:a16="http://schemas.microsoft.com/office/drawing/2014/main" id="{DC8072A3-EA7C-460A-B580-B1672794D9B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09638" y="5656263"/>
            <a:ext cx="4143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BBE8981-7A79-43F5-8646-7C50C75DBFCE}" type="datetime'J''u''''''''''''''n''''’''''2''''''''''''''2'''''''''''''''''">
              <a:rPr lang="en-US" altLang="en-US" smtClean="0"/>
              <a:pPr/>
              <a:t>Jun’22</a:t>
            </a:fld>
            <a:endParaRPr lang="en-US" dirty="0">
              <a:sym typeface="+mn-lt"/>
            </a:endParaRPr>
          </a:p>
        </p:txBody>
      </p:sp>
      <p:sp>
        <p:nvSpPr>
          <p:cNvPr id="147" name="Text Placeholder 3">
            <a:extLst>
              <a:ext uri="{FF2B5EF4-FFF2-40B4-BE49-F238E27FC236}">
                <a16:creationId xmlns:a16="http://schemas.microsoft.com/office/drawing/2014/main" id="{3F4F86BF-62D6-454E-ACCB-E5D2AFA0D4C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944688" y="5656263"/>
            <a:ext cx="47942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10F45B2-4547-4F90-A1BA-CBE7FAD3A0A1}" type="datetime'''Ma''y''’''''''''''2''''''''''''''''''''''''''3'''''''">
              <a:rPr lang="en-US" altLang="en-US" smtClean="0"/>
              <a:pPr/>
              <a:t>May’23</a:t>
            </a:fld>
            <a:endParaRPr lang="en-US" dirty="0">
              <a:sym typeface="+mn-lt"/>
            </a:endParaRPr>
          </a:p>
        </p:txBody>
      </p:sp>
      <p:sp>
        <p:nvSpPr>
          <p:cNvPr id="148" name="Text Placeholder 3">
            <a:extLst>
              <a:ext uri="{FF2B5EF4-FFF2-40B4-BE49-F238E27FC236}">
                <a16:creationId xmlns:a16="http://schemas.microsoft.com/office/drawing/2014/main" id="{C2313863-AA91-4470-9C88-BBA01335547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044825" y="5656263"/>
            <a:ext cx="4143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203371F-6B92-4793-844B-20B670EEC184}" type="datetime'''J''''''''''''''un’''''''2''''''''''3'''''''''''''''">
              <a:rPr lang="en-US" altLang="en-US" smtClean="0"/>
              <a:pPr/>
              <a:t>Jun’23</a:t>
            </a:fld>
            <a:endParaRPr lang="en-US" dirty="0">
              <a:sym typeface="+mn-lt"/>
            </a:endParaRPr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42AFBB1E-2985-4F53-AFC3-205760E84DE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919163" y="3325813"/>
            <a:ext cx="3937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1F544A2F-2A06-4AD9-B51F-F52817E43F46}" type="datetime'7'''''',''''''''''''''''''''4''''''''''''''2''''''''''4'''''">
              <a:rPr lang="en-US" altLang="en-US" sz="1200" smtClean="0"/>
              <a:pPr/>
              <a:t>7,424</a:t>
            </a:fld>
            <a:endParaRPr lang="en-US" sz="1200" dirty="0">
              <a:sym typeface="+mn-lt"/>
            </a:endParaRPr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id="{8027BA67-1E91-49C3-910C-8FC08DC57B61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987550" y="2894013"/>
            <a:ext cx="3937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4896C12B-B112-4E6E-B4DA-642452732297}" type="datetime'''''''''''''''8'',''''''''''''''9''''86'''''''">
              <a:rPr lang="en-US" altLang="en-US" sz="1200" smtClean="0"/>
              <a:pPr/>
              <a:t>8,986</a:t>
            </a:fld>
            <a:endParaRPr lang="en-US" sz="1200" dirty="0">
              <a:sym typeface="+mn-lt"/>
            </a:endParaRPr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C79116A1-3E48-4DBF-AD19-E2CB0255C3A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054350" y="2951163"/>
            <a:ext cx="3937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DF0E1F7F-AB59-4321-94DE-D8CF362434C4}" type="datetime'''''''''''''''8'''''',''''''''''7''''''''''''8''''1'">
              <a:rPr lang="en-US" altLang="en-US" sz="1200" smtClean="0"/>
              <a:pPr/>
              <a:t>8,781</a:t>
            </a:fld>
            <a:endParaRPr lang="en-US" sz="1200" dirty="0">
              <a:sym typeface="+mn-lt"/>
            </a:endParaRPr>
          </a:p>
        </p:txBody>
      </p:sp>
      <p:sp>
        <p:nvSpPr>
          <p:cNvPr id="56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952625" y="2373313"/>
            <a:ext cx="498475" cy="3111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dirty="0"/>
              <a:t>18</a:t>
            </a:r>
            <a:r>
              <a:rPr lang="en-US" sz="1600" dirty="0">
                <a:sym typeface="+mn-lt"/>
              </a:rPr>
              <a:t>%</a:t>
            </a:r>
          </a:p>
        </p:txBody>
      </p:sp>
      <p:sp>
        <p:nvSpPr>
          <p:cNvPr id="48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478088" y="2605088"/>
            <a:ext cx="441325" cy="3111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EF16370-D5F1-450F-AD7A-0C8747CFDC42}" type="datetime'''''''''''-''''''''2''''''''''%'''''''''''''''''''''''''">
              <a:rPr lang="en-US" altLang="en-US" sz="1600" smtClean="0">
                <a:solidFill>
                  <a:srgbClr val="FF0000"/>
                </a:solidFill>
              </a:rPr>
              <a:pPr/>
              <a:t>-2%</a:t>
            </a:fld>
            <a:endParaRPr lang="en-US" sz="1600" dirty="0">
              <a:solidFill>
                <a:srgbClr val="FF0000"/>
              </a:solidFill>
              <a:sym typeface="+mn-lt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9433B9B2-09A2-477D-890B-4780517335EE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1223963" y="6124575"/>
            <a:ext cx="214313" cy="160338"/>
          </a:xfrm>
          <a:prstGeom prst="rect">
            <a:avLst/>
          </a:prstGeom>
          <a:solidFill>
            <a:srgbClr val="2959A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7AC47463-FADE-4A6F-9EC5-F8C00234F19E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2522538" y="6124575"/>
            <a:ext cx="214313" cy="160338"/>
          </a:xfrm>
          <a:prstGeom prst="rect">
            <a:avLst/>
          </a:prstGeom>
          <a:solidFill>
            <a:srgbClr val="0080F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9" name="Text Placeholder 3">
            <a:extLst>
              <a:ext uri="{FF2B5EF4-FFF2-40B4-BE49-F238E27FC236}">
                <a16:creationId xmlns:a16="http://schemas.microsoft.com/office/drawing/2014/main" id="{733D1B8E-47F0-4A8D-9AAD-466FA4FAB730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489075" y="6105525"/>
            <a:ext cx="93186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26F546A-D2B1-4B66-9160-5B15335A2718}" type="datetime'Dom''''''e''''''s''tic'''''' ''''''''''''S''''''a''''''le''s'">
              <a:rPr lang="en-US" altLang="en-US" smtClean="0"/>
              <a:pPr/>
              <a:t>Domestic Sales</a:t>
            </a:fld>
            <a:endParaRPr lang="en-US" dirty="0">
              <a:sym typeface="+mn-lt"/>
            </a:endParaRPr>
          </a:p>
        </p:txBody>
      </p:sp>
      <p:sp>
        <p:nvSpPr>
          <p:cNvPr id="158" name="Text Placeholder 3">
            <a:extLst>
              <a:ext uri="{FF2B5EF4-FFF2-40B4-BE49-F238E27FC236}">
                <a16:creationId xmlns:a16="http://schemas.microsoft.com/office/drawing/2014/main" id="{5C796F13-E9ED-4479-B0DC-73E871736DB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787650" y="6105525"/>
            <a:ext cx="4651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CC93813-EA52-418F-8851-61CFBC381910}" type="datetime'E''''x''''''''''''''''''''''p''''''o''''''''''r''t''s'">
              <a:rPr lang="en-US" altLang="en-US" smtClean="0"/>
              <a:pPr/>
              <a:t>Exports</a:t>
            </a:fld>
            <a:endParaRPr lang="en-US" dirty="0">
              <a:sym typeface="+mn-lt"/>
            </a:endParaRPr>
          </a:p>
        </p:txBody>
      </p:sp>
      <p:graphicFrame>
        <p:nvGraphicFramePr>
          <p:cNvPr id="56" name="Chart 55">
            <a:extLst>
              <a:ext uri="{FF2B5EF4-FFF2-40B4-BE49-F238E27FC236}">
                <a16:creationId xmlns:a16="http://schemas.microsoft.com/office/drawing/2014/main" id="{722905E3-2A74-C13B-E212-1B058BBBEE9F}"/>
              </a:ext>
            </a:extLst>
          </p:cNvPr>
          <p:cNvGraphicFramePr/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33442247"/>
              </p:ext>
            </p:extLst>
          </p:nvPr>
        </p:nvGraphicFramePr>
        <p:xfrm>
          <a:off x="5124450" y="1751013"/>
          <a:ext cx="2935288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8"/>
          </a:graphicData>
        </a:graphic>
      </p:graphicFrame>
      <p:cxnSp>
        <p:nvCxnSpPr>
          <p:cNvPr id="250" name="Straight Connector 249">
            <a:extLst>
              <a:ext uri="{FF2B5EF4-FFF2-40B4-BE49-F238E27FC236}">
                <a16:creationId xmlns:a16="http://schemas.microsoft.com/office/drawing/2014/main" id="{4A6222D4-86FF-444E-A36C-A59704D3E8C9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gray">
          <a:xfrm flipV="1">
            <a:off x="7553325" y="1208089"/>
            <a:ext cx="0" cy="34607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1" name="Straight Connector 250">
            <a:extLst>
              <a:ext uri="{FF2B5EF4-FFF2-40B4-BE49-F238E27FC236}">
                <a16:creationId xmlns:a16="http://schemas.microsoft.com/office/drawing/2014/main" id="{ADF52E6A-A973-49E0-B826-53EA1FE9F227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gray">
          <a:xfrm flipH="1">
            <a:off x="6807200" y="1208088"/>
            <a:ext cx="74612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3" name="Straight Connector 502">
            <a:extLst>
              <a:ext uri="{FF2B5EF4-FFF2-40B4-BE49-F238E27FC236}">
                <a16:creationId xmlns:a16="http://schemas.microsoft.com/office/drawing/2014/main" id="{4AE2F057-C6E9-440A-1168-300ECB1D13B5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 flipH="1">
            <a:off x="5668963" y="1208088"/>
            <a:ext cx="74612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3227C720-E207-4FF4-BCFF-BCE71943041D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5668963" y="1208088"/>
            <a:ext cx="0" cy="41275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93A5DA4C-9550-4DD0-8305-F6715E0EE789}"/>
              </a:ext>
            </a:extLst>
          </p:cNvPr>
          <p:cNvCxnSpPr>
            <a:cxnSpLocks/>
          </p:cNvCxnSpPr>
          <p:nvPr>
            <p:custDataLst>
              <p:tags r:id="rId29"/>
            </p:custDataLst>
          </p:nvPr>
        </p:nvCxnSpPr>
        <p:spPr bwMode="gray">
          <a:xfrm flipV="1">
            <a:off x="6591300" y="1401763"/>
            <a:ext cx="0" cy="14922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2" name="Straight Connector 481">
            <a:extLst>
              <a:ext uri="{FF2B5EF4-FFF2-40B4-BE49-F238E27FC236}">
                <a16:creationId xmlns:a16="http://schemas.microsoft.com/office/drawing/2014/main" id="{96A10424-C2D6-ECF4-932B-58DB961A12AF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6591300" y="1401763"/>
            <a:ext cx="30162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0" name="Straight Connector 489">
            <a:extLst>
              <a:ext uri="{FF2B5EF4-FFF2-40B4-BE49-F238E27FC236}">
                <a16:creationId xmlns:a16="http://schemas.microsoft.com/office/drawing/2014/main" id="{B59DBB47-7280-0DE3-1E2A-67023B70455E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7177088" y="1401763"/>
            <a:ext cx="3000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5" name="Straight Connector 484">
            <a:extLst>
              <a:ext uri="{FF2B5EF4-FFF2-40B4-BE49-F238E27FC236}">
                <a16:creationId xmlns:a16="http://schemas.microsoft.com/office/drawing/2014/main" id="{2B993F69-D2B6-797E-885B-93732C24898E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>
            <a:off x="7477125" y="1401763"/>
            <a:ext cx="0" cy="15240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7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5530850" y="1860550"/>
            <a:ext cx="277813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B5BA71-C41B-48C5-801A-F7E4CDEE44FC}" type="datetime'''''''''''''''''''''''''''''5''2''''''''''''''''''9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529</a:t>
            </a:fld>
            <a:endParaRPr lang="en-US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62" name="Text Placeholder 3">
            <a:extLst>
              <a:ext uri="{FF2B5EF4-FFF2-40B4-BE49-F238E27FC236}">
                <a16:creationId xmlns:a16="http://schemas.microsoft.com/office/drawing/2014/main" id="{22824206-ECBA-449E-B47F-44E1B184FE36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462588" y="2538413"/>
            <a:ext cx="4143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17F4745-0AA4-4B44-9239-FDEC42367A2C}" type="datetime'''J''u''''''n''''''’''''''''''''''2''2'''''''''">
              <a:rPr lang="en-US" altLang="en-US" smtClean="0"/>
              <a:pPr/>
              <a:t>Jun’22</a:t>
            </a:fld>
            <a:endParaRPr lang="en-US" dirty="0">
              <a:sym typeface="+mn-lt"/>
            </a:endParaRPr>
          </a:p>
        </p:txBody>
      </p:sp>
      <p:sp>
        <p:nvSpPr>
          <p:cNvPr id="27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6453188" y="1790700"/>
            <a:ext cx="277813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2291F9-5190-4B07-9126-938C60F5CE3E}" type="datetime'''''''7''''''''''''''''4''''''''''''8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748</a:t>
            </a:fld>
            <a:endParaRPr lang="en-US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57" name="Text Placeholder 3">
            <a:extLst>
              <a:ext uri="{FF2B5EF4-FFF2-40B4-BE49-F238E27FC236}">
                <a16:creationId xmlns:a16="http://schemas.microsoft.com/office/drawing/2014/main" id="{7418EDA7-4A15-4DFA-B868-9B786CC3D2C1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6351588" y="2538413"/>
            <a:ext cx="47942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46B2EEF-DD15-42FC-A694-4C948DEEFC49}" type="datetime'''''''''M''''''''''''''''a''''''''''y''’2''''3'''''''''">
              <a:rPr lang="en-US" altLang="en-US" smtClean="0"/>
              <a:pPr/>
              <a:t>May’23</a:t>
            </a:fld>
            <a:endParaRPr lang="en-US" dirty="0">
              <a:sym typeface="+mn-lt"/>
            </a:endParaRPr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7377113" y="1793875"/>
            <a:ext cx="277813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EA970C-D7A4-4939-948B-72D5CA2F8278}" type="datetime'''''''''''''''''''''''''6''''''''''''''''''''9''''''''0'">
              <a:rPr lang="en-US" altLang="en-US" sz="1200" smtClean="0">
                <a:solidFill>
                  <a:schemeClr val="bg1"/>
                </a:solidFill>
                <a:effectLst/>
              </a:rPr>
              <a:pPr/>
              <a:t>690</a:t>
            </a:fld>
            <a:endParaRPr lang="en-US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60" name="Text Placeholder 3">
            <a:extLst>
              <a:ext uri="{FF2B5EF4-FFF2-40B4-BE49-F238E27FC236}">
                <a16:creationId xmlns:a16="http://schemas.microsoft.com/office/drawing/2014/main" id="{87D5AF3D-72E6-4ACF-BF30-C0D212BDDD88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308850" y="2538413"/>
            <a:ext cx="4143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5BC4C33-1CF3-4BD4-B8CF-6C14E9B072EB}" type="datetime'''''''''''''''''''''''''''''J''''''''''''u''''''n’2''''''3'''">
              <a:rPr lang="en-US" altLang="en-US" smtClean="0"/>
              <a:pPr/>
              <a:t>Jun’23</a:t>
            </a:fld>
            <a:endParaRPr lang="en-US" dirty="0">
              <a:sym typeface="+mn-lt"/>
            </a:endParaRPr>
          </a:p>
        </p:txBody>
      </p:sp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513C528C-085D-42A1-B79A-B9BED40A3FDB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472113" y="1658938"/>
            <a:ext cx="3937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C61EE6B9-F013-456F-954B-FB7C90EE99BA}" type="datetime'''''''''''''''5,3''''''''''''''''''''''''''''''''2''''2'''">
              <a:rPr lang="en-US" altLang="en-US" sz="1200" smtClean="0"/>
              <a:pPr/>
              <a:t>5,322</a:t>
            </a:fld>
            <a:endParaRPr lang="en-US" sz="1200" dirty="0">
              <a:sym typeface="+mn-lt"/>
            </a:endParaRPr>
          </a:p>
        </p:txBody>
      </p:sp>
      <p:sp>
        <p:nvSpPr>
          <p:cNvPr id="264" name="Text Placeholder 2">
            <a:extLst>
              <a:ext uri="{FF2B5EF4-FFF2-40B4-BE49-F238E27FC236}">
                <a16:creationId xmlns:a16="http://schemas.microsoft.com/office/drawing/2014/main" id="{808A3708-10E7-47AF-A0BE-8EF9103F0BF3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6394450" y="1589088"/>
            <a:ext cx="3937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7FDB75F5-97FE-43BE-BC74-921D7FC57D9F}" type="datetime'''''6'''''''''''''''''''''''''''''''''''''''''''',0''''80'">
              <a:rPr lang="en-US" altLang="en-US" sz="1200" smtClean="0"/>
              <a:pPr/>
              <a:t>6,080</a:t>
            </a:fld>
            <a:endParaRPr lang="en-US" sz="1200" dirty="0">
              <a:sym typeface="+mn-lt"/>
            </a:endParaRPr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2CE99246-5484-480B-8D5C-0D6A853DCF65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7318375" y="1592263"/>
            <a:ext cx="3937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D7A810C7-B567-4867-8705-070258DB988D}" type="datetime'''''''''''''''''''''''''''''''6'''''',0''''2''''''''''''1'''">
              <a:rPr lang="en-US" altLang="en-US" sz="1200" smtClean="0"/>
              <a:pPr/>
              <a:t>6,021</a:t>
            </a:fld>
            <a:endParaRPr lang="en-US" sz="1200" dirty="0">
              <a:sym typeface="+mn-lt"/>
            </a:endParaRPr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6369049" y="1090613"/>
            <a:ext cx="484188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>
                <a:sym typeface="+mn-lt"/>
              </a:rPr>
              <a:t>+13%</a:t>
            </a:r>
          </a:p>
        </p:txBody>
      </p:sp>
      <p:sp>
        <p:nvSpPr>
          <p:cNvPr id="48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6869113" y="1284288"/>
            <a:ext cx="330200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F1B53C-E190-42EC-A3B1-49EB03F07F4A}" type="datetime'''''''''''-''''''''1''%'''''''''''">
              <a:rPr lang="en-US" altLang="en-US" sz="1200" smtClean="0">
                <a:solidFill>
                  <a:srgbClr val="FF0000"/>
                </a:solidFill>
              </a:rPr>
              <a:pPr/>
              <a:t>-1%</a:t>
            </a:fld>
            <a:endParaRPr lang="en-US" sz="1200" dirty="0">
              <a:solidFill>
                <a:srgbClr val="FF0000"/>
              </a:solidFill>
              <a:sym typeface="+mn-lt"/>
            </a:endParaRPr>
          </a:p>
        </p:txBody>
      </p:sp>
      <p:graphicFrame>
        <p:nvGraphicFramePr>
          <p:cNvPr id="58" name="Chart 57">
            <a:extLst>
              <a:ext uri="{FF2B5EF4-FFF2-40B4-BE49-F238E27FC236}">
                <a16:creationId xmlns:a16="http://schemas.microsoft.com/office/drawing/2014/main" id="{646E26DC-CD6F-7054-E3E4-053982E32A63}"/>
              </a:ext>
            </a:extLst>
          </p:cNvPr>
          <p:cNvGraphicFramePr/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882986894"/>
              </p:ext>
            </p:extLst>
          </p:nvPr>
        </p:nvGraphicFramePr>
        <p:xfrm>
          <a:off x="8915400" y="1924050"/>
          <a:ext cx="2935288" cy="64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9"/>
          </a:graphicData>
        </a:graphic>
      </p:graphicFrame>
      <p:cxnSp>
        <p:nvCxnSpPr>
          <p:cNvPr id="571" name="Straight Connector 570">
            <a:extLst>
              <a:ext uri="{FF2B5EF4-FFF2-40B4-BE49-F238E27FC236}">
                <a16:creationId xmlns:a16="http://schemas.microsoft.com/office/drawing/2014/main" id="{4C1AE755-0A20-44CC-8EB6-9120DADE4311}"/>
              </a:ext>
            </a:extLst>
          </p:cNvPr>
          <p:cNvCxnSpPr/>
          <p:nvPr>
            <p:custDataLst>
              <p:tags r:id="rId45"/>
            </p:custDataLst>
          </p:nvPr>
        </p:nvCxnSpPr>
        <p:spPr bwMode="gray">
          <a:xfrm flipV="1">
            <a:off x="9459913" y="1225550"/>
            <a:ext cx="0" cy="6524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2" name="Straight Connector 571">
            <a:extLst>
              <a:ext uri="{FF2B5EF4-FFF2-40B4-BE49-F238E27FC236}">
                <a16:creationId xmlns:a16="http://schemas.microsoft.com/office/drawing/2014/main" id="{F3A762EC-939D-4AAA-9342-6767AD061856}"/>
              </a:ext>
            </a:extLst>
          </p:cNvPr>
          <p:cNvCxnSpPr>
            <a:cxnSpLocks/>
          </p:cNvCxnSpPr>
          <p:nvPr>
            <p:custDataLst>
              <p:tags r:id="rId46"/>
            </p:custDataLst>
          </p:nvPr>
        </p:nvCxnSpPr>
        <p:spPr bwMode="gray">
          <a:xfrm>
            <a:off x="9459913" y="1225550"/>
            <a:ext cx="74612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07DF31F9-1C02-4581-BB46-A211B6380756}"/>
              </a:ext>
            </a:extLst>
          </p:cNvPr>
          <p:cNvCxnSpPr/>
          <p:nvPr>
            <p:custDataLst>
              <p:tags r:id="rId47"/>
            </p:custDataLst>
          </p:nvPr>
        </p:nvCxnSpPr>
        <p:spPr bwMode="gray">
          <a:xfrm>
            <a:off x="10598150" y="1225550"/>
            <a:ext cx="74612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4" name="Straight Connector 573">
            <a:extLst>
              <a:ext uri="{FF2B5EF4-FFF2-40B4-BE49-F238E27FC236}">
                <a16:creationId xmlns:a16="http://schemas.microsoft.com/office/drawing/2014/main" id="{F548A695-68C6-4AE8-8AE7-3B132D70F7F1}"/>
              </a:ext>
            </a:extLst>
          </p:cNvPr>
          <p:cNvCxnSpPr/>
          <p:nvPr>
            <p:custDataLst>
              <p:tags r:id="rId48"/>
            </p:custDataLst>
          </p:nvPr>
        </p:nvCxnSpPr>
        <p:spPr bwMode="gray">
          <a:xfrm>
            <a:off x="11344275" y="1225549"/>
            <a:ext cx="0" cy="46355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43A4AE6A-0105-4372-B53D-27CCB9534494}"/>
              </a:ext>
            </a:extLst>
          </p:cNvPr>
          <p:cNvCxnSpPr>
            <a:cxnSpLocks/>
          </p:cNvCxnSpPr>
          <p:nvPr>
            <p:custDataLst>
              <p:tags r:id="rId49"/>
            </p:custDataLst>
          </p:nvPr>
        </p:nvCxnSpPr>
        <p:spPr bwMode="gray">
          <a:xfrm flipV="1">
            <a:off x="11268075" y="1536700"/>
            <a:ext cx="0" cy="15240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FA1B9674-2DB2-4898-951D-4380BEDBEB86}"/>
              </a:ext>
            </a:extLst>
          </p:cNvPr>
          <p:cNvCxnSpPr>
            <a:cxnSpLocks/>
          </p:cNvCxnSpPr>
          <p:nvPr>
            <p:custDataLst>
              <p:tags r:id="rId50"/>
            </p:custDataLst>
          </p:nvPr>
        </p:nvCxnSpPr>
        <p:spPr bwMode="gray">
          <a:xfrm flipH="1">
            <a:off x="10982325" y="1536700"/>
            <a:ext cx="285750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E8A3F5A-C4D4-4CF3-BF7E-4EBB1CF5A0D6}"/>
              </a:ext>
            </a:extLst>
          </p:cNvPr>
          <p:cNvCxnSpPr/>
          <p:nvPr>
            <p:custDataLst>
              <p:tags r:id="rId51"/>
            </p:custDataLst>
          </p:nvPr>
        </p:nvCxnSpPr>
        <p:spPr bwMode="gray">
          <a:xfrm flipH="1">
            <a:off x="10382250" y="1536700"/>
            <a:ext cx="285750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61D5303C-9BBB-4794-AFEE-4A87EC8E3BFE}"/>
              </a:ext>
            </a:extLst>
          </p:cNvPr>
          <p:cNvCxnSpPr>
            <a:cxnSpLocks/>
          </p:cNvCxnSpPr>
          <p:nvPr>
            <p:custDataLst>
              <p:tags r:id="rId52"/>
            </p:custDataLst>
          </p:nvPr>
        </p:nvCxnSpPr>
        <p:spPr bwMode="gray">
          <a:xfrm>
            <a:off x="10382250" y="1536700"/>
            <a:ext cx="0" cy="15875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0" name="Text Placeholder 2">
            <a:extLst>
              <a:ext uri="{FF2B5EF4-FFF2-40B4-BE49-F238E27FC236}">
                <a16:creationId xmlns:a16="http://schemas.microsoft.com/office/drawing/2014/main" id="{105D52AA-0BDF-41A0-82DC-9C111BA4B6FA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9359900" y="2117725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EA6851-758A-470D-B791-9D488FF9C0A0}" type="datetime'''''''''''3''''''6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36</a:t>
            </a:fld>
            <a:endParaRPr lang="en-US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43" name="Text Placeholder 3">
            <a:extLst>
              <a:ext uri="{FF2B5EF4-FFF2-40B4-BE49-F238E27FC236}">
                <a16:creationId xmlns:a16="http://schemas.microsoft.com/office/drawing/2014/main" id="{58AE5EBF-B275-40F6-803B-207359BE6F66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9253538" y="2538413"/>
            <a:ext cx="4143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8C1B58E-5752-4E94-900E-F1FD433E8131}" type="datetime'''''''''''''''''''J''''u''n''''’''''''''2''''''''''''2'''''''">
              <a:rPr lang="en-US" altLang="en-US" smtClean="0"/>
              <a:pPr/>
              <a:t>Jun’22</a:t>
            </a:fld>
            <a:endParaRPr lang="en-US" dirty="0">
              <a:sym typeface="+mn-lt"/>
            </a:endParaRPr>
          </a:p>
        </p:txBody>
      </p:sp>
      <p:sp>
        <p:nvSpPr>
          <p:cNvPr id="344" name="Text Placeholder 2">
            <a:extLst>
              <a:ext uri="{FF2B5EF4-FFF2-40B4-BE49-F238E27FC236}">
                <a16:creationId xmlns:a16="http://schemas.microsoft.com/office/drawing/2014/main" id="{08633BFF-4F39-443C-AFA6-244CDDDB87A9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10282238" y="1935163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8D79BA4-EAC2-48D3-9C62-135DACFB98FF}" type="datetime'''''''''''''''''''''4''''6'">
              <a:rPr lang="en-US" altLang="en-US" sz="1200" smtClean="0">
                <a:solidFill>
                  <a:schemeClr val="bg1"/>
                </a:solidFill>
                <a:effectLst/>
              </a:rPr>
              <a:pPr/>
              <a:t>46</a:t>
            </a:fld>
            <a:endParaRPr lang="en-US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42" name="Text Placeholder 3">
            <a:extLst>
              <a:ext uri="{FF2B5EF4-FFF2-40B4-BE49-F238E27FC236}">
                <a16:creationId xmlns:a16="http://schemas.microsoft.com/office/drawing/2014/main" id="{59C8A06F-3992-479F-9E83-D8C5DC88BFAC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10142538" y="2538413"/>
            <a:ext cx="47942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389218C-527A-4491-ACFE-1D8264FBEDDB}" type="datetime'''M''''a''''y''''''''''’''''''''2''''3'">
              <a:rPr lang="en-US" altLang="en-US" smtClean="0"/>
              <a:pPr/>
              <a:t>May’23</a:t>
            </a:fld>
            <a:endParaRPr lang="en-US" dirty="0">
              <a:sym typeface="+mn-lt"/>
            </a:endParaRPr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11206163" y="1928813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A0F490-5E7C-4E15-9C13-B66FC490023D}" type="datetime'''''''''''''''''''''''''''''''''''''''''2''3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23</a:t>
            </a:fld>
            <a:endParaRPr lang="en-US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41" name="Text Placeholder 3">
            <a:extLst>
              <a:ext uri="{FF2B5EF4-FFF2-40B4-BE49-F238E27FC236}">
                <a16:creationId xmlns:a16="http://schemas.microsoft.com/office/drawing/2014/main" id="{75E653D9-3562-4536-A00B-382B496EC111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11099800" y="2538413"/>
            <a:ext cx="4143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B94359D-4090-4D64-B04E-0E75E8F1BB1F}" type="datetime'J''''''''''''''''''u''n''’''''2''''''''''3'''''''''''''''''''">
              <a:rPr lang="en-US" altLang="en-US" smtClean="0"/>
              <a:pPr/>
              <a:t>Jun’23</a:t>
            </a:fld>
            <a:endParaRPr lang="en-US" dirty="0">
              <a:sym typeface="+mn-lt"/>
            </a:endParaRPr>
          </a:p>
        </p:txBody>
      </p:sp>
      <p:sp>
        <p:nvSpPr>
          <p:cNvPr id="345" name="Text Placeholder 2">
            <a:extLst>
              <a:ext uri="{FF2B5EF4-FFF2-40B4-BE49-F238E27FC236}">
                <a16:creationId xmlns:a16="http://schemas.microsoft.com/office/drawing/2014/main" id="{57A88A10-F994-4CA8-A890-E1FE074E7688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9321800" y="1916113"/>
            <a:ext cx="2778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0E7F39F7-2486-42A8-BE92-C62FF20314B8}" type="datetime'''''''''7''4''''''9'''''''''''''''''''''''''''''''''''''">
              <a:rPr lang="en-US" altLang="en-US" sz="1200" smtClean="0"/>
              <a:pPr/>
              <a:t>749</a:t>
            </a:fld>
            <a:endParaRPr lang="en-US" sz="1200" dirty="0">
              <a:sym typeface="+mn-lt"/>
            </a:endParaRPr>
          </a:p>
        </p:txBody>
      </p:sp>
      <p:sp>
        <p:nvSpPr>
          <p:cNvPr id="346" name="Text Placeholder 2">
            <a:extLst>
              <a:ext uri="{FF2B5EF4-FFF2-40B4-BE49-F238E27FC236}">
                <a16:creationId xmlns:a16="http://schemas.microsoft.com/office/drawing/2014/main" id="{B2C46427-C21C-474C-BDAD-4EED551310EE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10185400" y="1733550"/>
            <a:ext cx="3937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B233EB67-6CD6-4FEA-9ACF-71C0318FF01D}" type="datetime'''''''''''1'',''''''''2''''''''''''''''''2''''''1'''''''">
              <a:rPr lang="en-US" altLang="en-US" sz="1200" smtClean="0"/>
              <a:pPr/>
              <a:t>1,221</a:t>
            </a:fld>
            <a:endParaRPr lang="en-US" sz="1200" dirty="0">
              <a:sym typeface="+mn-lt"/>
            </a:endParaRPr>
          </a:p>
        </p:txBody>
      </p:sp>
      <p:sp>
        <p:nvSpPr>
          <p:cNvPr id="347" name="Text Placeholder 2">
            <a:extLst>
              <a:ext uri="{FF2B5EF4-FFF2-40B4-BE49-F238E27FC236}">
                <a16:creationId xmlns:a16="http://schemas.microsoft.com/office/drawing/2014/main" id="{D6D8438C-5592-47C2-BCA4-BB9B3CF4A996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11109325" y="1727200"/>
            <a:ext cx="3937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EC9DD57F-AF3D-4996-BB2B-8FC1D3D1779B}" type="datetime'''1'''''',''''''''2''2''''''9'''''''''''''''''''''">
              <a:rPr lang="en-US" altLang="en-US" sz="1200" smtClean="0"/>
              <a:pPr/>
              <a:t>1,229</a:t>
            </a:fld>
            <a:endParaRPr lang="en-US" sz="1200" dirty="0">
              <a:sym typeface="+mn-lt"/>
            </a:endParaRPr>
          </a:p>
        </p:txBody>
      </p:sp>
      <p:sp>
        <p:nvSpPr>
          <p:cNvPr id="25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10160000" y="1108075"/>
            <a:ext cx="484188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138157-6F90-4A0A-83DC-9BA217B17DDB}" type="datetime'''+''''''''''''64''''''''''''''''''''''''''''''''%'''''''''''">
              <a:rPr lang="en-US" altLang="en-US" sz="1200" smtClean="0"/>
              <a:pPr/>
              <a:t>+64%</a:t>
            </a:fld>
            <a:endParaRPr lang="en-US" sz="1200" dirty="0">
              <a:sym typeface="+mn-lt"/>
            </a:endParaRPr>
          </a:p>
        </p:txBody>
      </p:sp>
      <p:sp>
        <p:nvSpPr>
          <p:cNvPr id="19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10639425" y="1419225"/>
            <a:ext cx="373063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  <a:sym typeface="+mn-lt"/>
              </a:rPr>
              <a:t>+1%</a:t>
            </a:r>
            <a:endParaRPr lang="en-US" sz="1200" dirty="0">
              <a:sym typeface="+mn-lt"/>
            </a:endParaRP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8A8E18AF-C33F-A05E-4DFD-674B4F69B9EE}"/>
              </a:ext>
            </a:extLst>
          </p:cNvPr>
          <p:cNvGraphicFramePr/>
          <p:nvPr>
            <p:custDataLst>
              <p:tags r:id="rId64"/>
            </p:custDataLst>
            <p:extLst>
              <p:ext uri="{D42A27DB-BD31-4B8C-83A1-F6EECF244321}">
                <p14:modId xmlns:p14="http://schemas.microsoft.com/office/powerpoint/2010/main" val="427558003"/>
              </p:ext>
            </p:extLst>
          </p:nvPr>
        </p:nvGraphicFramePr>
        <p:xfrm>
          <a:off x="5124450" y="3582988"/>
          <a:ext cx="2935288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0"/>
          </a:graphicData>
        </a:graphic>
      </p:graphicFrame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8950182-05DF-4E81-95AA-E2E5260A170B}"/>
              </a:ext>
            </a:extLst>
          </p:cNvPr>
          <p:cNvCxnSpPr/>
          <p:nvPr>
            <p:custDataLst>
              <p:tags r:id="rId65"/>
            </p:custDataLst>
          </p:nvPr>
        </p:nvCxnSpPr>
        <p:spPr bwMode="gray">
          <a:xfrm flipV="1">
            <a:off x="5668963" y="3016249"/>
            <a:ext cx="0" cy="65405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770324A-B025-4927-A0BC-E351CBAD312C}"/>
              </a:ext>
            </a:extLst>
          </p:cNvPr>
          <p:cNvCxnSpPr/>
          <p:nvPr>
            <p:custDataLst>
              <p:tags r:id="rId66"/>
            </p:custDataLst>
          </p:nvPr>
        </p:nvCxnSpPr>
        <p:spPr bwMode="gray">
          <a:xfrm>
            <a:off x="5668963" y="3016250"/>
            <a:ext cx="74612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2C6C1C6A-9318-4585-A8AA-3C2751F4E25D}"/>
              </a:ext>
            </a:extLst>
          </p:cNvPr>
          <p:cNvCxnSpPr/>
          <p:nvPr>
            <p:custDataLst>
              <p:tags r:id="rId67"/>
            </p:custDataLst>
          </p:nvPr>
        </p:nvCxnSpPr>
        <p:spPr bwMode="gray">
          <a:xfrm>
            <a:off x="6807200" y="3016250"/>
            <a:ext cx="74612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9C4E4908-6378-4F08-8996-E1167DB2F695}"/>
              </a:ext>
            </a:extLst>
          </p:cNvPr>
          <p:cNvCxnSpPr/>
          <p:nvPr>
            <p:custDataLst>
              <p:tags r:id="rId68"/>
            </p:custDataLst>
          </p:nvPr>
        </p:nvCxnSpPr>
        <p:spPr bwMode="gray">
          <a:xfrm>
            <a:off x="7553325" y="3016250"/>
            <a:ext cx="0" cy="38100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1" name="Straight Connector 480">
            <a:extLst>
              <a:ext uri="{FF2B5EF4-FFF2-40B4-BE49-F238E27FC236}">
                <a16:creationId xmlns:a16="http://schemas.microsoft.com/office/drawing/2014/main" id="{3A5B660C-E138-428A-A644-922A9600F3EB}"/>
              </a:ext>
            </a:extLst>
          </p:cNvPr>
          <p:cNvCxnSpPr>
            <a:cxnSpLocks/>
          </p:cNvCxnSpPr>
          <p:nvPr>
            <p:custDataLst>
              <p:tags r:id="rId69"/>
            </p:custDataLst>
          </p:nvPr>
        </p:nvCxnSpPr>
        <p:spPr bwMode="gray">
          <a:xfrm flipV="1">
            <a:off x="6591300" y="3209925"/>
            <a:ext cx="0" cy="15240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C906C8E7-E68D-48E6-8230-0EEE8C6F1EAB}"/>
              </a:ext>
            </a:extLst>
          </p:cNvPr>
          <p:cNvCxnSpPr>
            <a:cxnSpLocks/>
          </p:cNvCxnSpPr>
          <p:nvPr>
            <p:custDataLst>
              <p:tags r:id="rId70"/>
            </p:custDataLst>
          </p:nvPr>
        </p:nvCxnSpPr>
        <p:spPr bwMode="gray">
          <a:xfrm>
            <a:off x="6591300" y="3209925"/>
            <a:ext cx="30162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42E416E-97CE-4591-9DE8-BCB393D80CF7}"/>
              </a:ext>
            </a:extLst>
          </p:cNvPr>
          <p:cNvCxnSpPr/>
          <p:nvPr>
            <p:custDataLst>
              <p:tags r:id="rId71"/>
            </p:custDataLst>
          </p:nvPr>
        </p:nvCxnSpPr>
        <p:spPr bwMode="gray">
          <a:xfrm>
            <a:off x="7177088" y="3209925"/>
            <a:ext cx="3000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8D00BFFB-F0D4-4274-B4C3-5BE241F40A01}"/>
              </a:ext>
            </a:extLst>
          </p:cNvPr>
          <p:cNvCxnSpPr/>
          <p:nvPr>
            <p:custDataLst>
              <p:tags r:id="rId72"/>
            </p:custDataLst>
          </p:nvPr>
        </p:nvCxnSpPr>
        <p:spPr bwMode="gray">
          <a:xfrm>
            <a:off x="7477125" y="3209925"/>
            <a:ext cx="0" cy="18732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5568950" y="3910013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823648-F37B-44AA-A942-2EDFC3F25C32}" type="datetime'''''''''''''''''''4''''''''''''''''''2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42</a:t>
            </a:fld>
            <a:endParaRPr lang="en-US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70" name="Text Placeholder 3">
            <a:extLst>
              <a:ext uri="{FF2B5EF4-FFF2-40B4-BE49-F238E27FC236}">
                <a16:creationId xmlns:a16="http://schemas.microsoft.com/office/drawing/2014/main" id="{D4065817-0EB8-4EFE-8190-AD6478CDE0D7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5462588" y="4370388"/>
            <a:ext cx="4143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0DB74BB-5640-4AFE-A23B-AC14093C207A}" type="datetime'J''''''u''n''''''''''''''''''''''''’''''''''2''''''''2'''''''">
              <a:rPr lang="en-US" altLang="en-US" smtClean="0"/>
              <a:pPr/>
              <a:t>Jun’22</a:t>
            </a:fld>
            <a:endParaRPr lang="en-US" dirty="0">
              <a:sym typeface="+mn-lt"/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6491288" y="3602038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170592-04D2-4693-9262-063C175E182D}" type="datetime'''''''''''''''''''''''''2''''''''''''''''''''''''''''''6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26</a:t>
            </a:fld>
            <a:endParaRPr lang="en-US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69" name="Text Placeholder 3">
            <a:extLst>
              <a:ext uri="{FF2B5EF4-FFF2-40B4-BE49-F238E27FC236}">
                <a16:creationId xmlns:a16="http://schemas.microsoft.com/office/drawing/2014/main" id="{D5F844AF-38EC-4C3C-9ED0-020F628429D7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6351588" y="4370388"/>
            <a:ext cx="47942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12BF631-18B2-4AB6-BDF6-1DDBE92F2024}" type="datetime'''''''M''''''ay''''''’''''''''''''''''''''''''2''''''''''3'">
              <a:rPr lang="en-US" altLang="en-US" smtClean="0"/>
              <a:pPr/>
              <a:t>May’23</a:t>
            </a:fld>
            <a:endParaRPr lang="en-US" dirty="0">
              <a:sym typeface="+mn-lt"/>
            </a:endParaRPr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7415213" y="3636963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E2F689-B81D-4E40-8928-64B23CAF6404}" type="datetime'''''''6''''''''''''''''''''''''''''''''''''''''''''''''1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61</a:t>
            </a:fld>
            <a:endParaRPr lang="en-US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68" name="Text Placeholder 3">
            <a:extLst>
              <a:ext uri="{FF2B5EF4-FFF2-40B4-BE49-F238E27FC236}">
                <a16:creationId xmlns:a16="http://schemas.microsoft.com/office/drawing/2014/main" id="{8651601E-D741-46BD-B523-F46D3E267E7B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7308850" y="4370388"/>
            <a:ext cx="4143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62313CF-D3AC-413F-BF97-6FB03B9008A0}" type="datetime'''''''''''''''J''''''''''''''''''un’''''''2''3'''''''''''''">
              <a:rPr lang="en-US" altLang="en-US" smtClean="0"/>
              <a:pPr/>
              <a:t>Jun’23</a:t>
            </a:fld>
            <a:endParaRPr lang="en-US" dirty="0">
              <a:sym typeface="+mn-lt"/>
            </a:endParaRPr>
          </a:p>
        </p:txBody>
      </p:sp>
      <p:sp>
        <p:nvSpPr>
          <p:cNvPr id="372" name="Text Placeholder 2">
            <a:extLst>
              <a:ext uri="{FF2B5EF4-FFF2-40B4-BE49-F238E27FC236}">
                <a16:creationId xmlns:a16="http://schemas.microsoft.com/office/drawing/2014/main" id="{2565FCDE-94DD-4D3D-B2EF-98F32B1471C8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5530850" y="3708400"/>
            <a:ext cx="2778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5FE6A81F-508C-437B-ADD4-1293D5AE51BE}" type="datetime'''''''''2''''''''''''''''3''4'''''''''">
              <a:rPr lang="en-US" altLang="en-US" sz="1200" smtClean="0"/>
              <a:pPr/>
              <a:t>234</a:t>
            </a:fld>
            <a:endParaRPr lang="en-US" sz="1200" dirty="0">
              <a:sym typeface="+mn-lt"/>
            </a:endParaRPr>
          </a:p>
        </p:txBody>
      </p:sp>
      <p:sp>
        <p:nvSpPr>
          <p:cNvPr id="373" name="Text Placeholder 2">
            <a:extLst>
              <a:ext uri="{FF2B5EF4-FFF2-40B4-BE49-F238E27FC236}">
                <a16:creationId xmlns:a16="http://schemas.microsoft.com/office/drawing/2014/main" id="{E36062D6-BAC9-4B76-9BED-B775AD2B47BF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6453188" y="3400425"/>
            <a:ext cx="2778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B0569809-7D24-4E2F-9016-9465B484D5F4}" type="datetime'''''4''2''''''''''''''''''''''''''''''''''''''6'''">
              <a:rPr lang="en-US" altLang="en-US" sz="1200" smtClean="0"/>
              <a:pPr/>
              <a:t>426</a:t>
            </a:fld>
            <a:endParaRPr lang="en-US" sz="1200" dirty="0">
              <a:sym typeface="+mn-lt"/>
            </a:endParaRPr>
          </a:p>
        </p:txBody>
      </p:sp>
      <p:sp>
        <p:nvSpPr>
          <p:cNvPr id="374" name="Text Placeholder 2">
            <a:extLst>
              <a:ext uri="{FF2B5EF4-FFF2-40B4-BE49-F238E27FC236}">
                <a16:creationId xmlns:a16="http://schemas.microsoft.com/office/drawing/2014/main" id="{486C7830-05B0-4E4C-8290-340669ACF58D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7377113" y="3435350"/>
            <a:ext cx="2778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6A37E7FE-7DE8-4CC3-91F7-52218D36C249}" type="datetime'''''''''4''''''''''''''''2''''''''''1'">
              <a:rPr lang="en-US" altLang="en-US" sz="1200" smtClean="0"/>
              <a:pPr/>
              <a:t>421</a:t>
            </a:fld>
            <a:endParaRPr lang="en-US" sz="1200" dirty="0">
              <a:sym typeface="+mn-lt"/>
            </a:endParaRPr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6369050" y="2898775"/>
            <a:ext cx="484188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C55D16-5F75-425E-B7F9-7BC8898DA9E9}" type="datetime'''''''''''''''''''''''''+''''''''''8''''''0%'''''''">
              <a:rPr lang="en-US" altLang="en-US" sz="1200" smtClean="0"/>
              <a:pPr/>
              <a:t>+80%</a:t>
            </a:fld>
            <a:endParaRPr lang="en-US" sz="1200" dirty="0">
              <a:sym typeface="+mn-lt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6869113" y="3092450"/>
            <a:ext cx="330200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>
                <a:solidFill>
                  <a:srgbClr val="FF0000"/>
                </a:solidFill>
              </a:rPr>
              <a:t>-</a:t>
            </a:r>
            <a:fld id="{B3AEA8F7-7114-4681-90D3-7336617099ED}" type="datetime'''''''''''''1'''''''''''''''''''''''''''''''''''''">
              <a:rPr lang="en-US" altLang="en-US" sz="1200" smtClean="0">
                <a:solidFill>
                  <a:srgbClr val="FF0000"/>
                </a:solidFill>
              </a:rPr>
              <a:pPr/>
              <a:t>1</a:t>
            </a:fld>
            <a:r>
              <a:rPr lang="en-US" altLang="en-US" sz="1200">
                <a:solidFill>
                  <a:srgbClr val="FF0000"/>
                </a:solidFill>
              </a:rPr>
              <a:t>%</a:t>
            </a:r>
            <a:endParaRPr lang="en-US" sz="1200" dirty="0">
              <a:solidFill>
                <a:srgbClr val="FF0000"/>
              </a:solidFill>
              <a:sym typeface="+mn-lt"/>
            </a:endParaRPr>
          </a:p>
        </p:txBody>
      </p:sp>
      <p:graphicFrame>
        <p:nvGraphicFramePr>
          <p:cNvPr id="460" name="Chart 459">
            <a:extLst>
              <a:ext uri="{FF2B5EF4-FFF2-40B4-BE49-F238E27FC236}">
                <a16:creationId xmlns:a16="http://schemas.microsoft.com/office/drawing/2014/main" id="{47065F85-B80C-1295-6E70-298612552474}"/>
              </a:ext>
            </a:extLst>
          </p:cNvPr>
          <p:cNvGraphicFramePr/>
          <p:nvPr>
            <p:custDataLst>
              <p:tags r:id="rId84"/>
            </p:custDataLst>
            <p:extLst>
              <p:ext uri="{D42A27DB-BD31-4B8C-83A1-F6EECF244321}">
                <p14:modId xmlns:p14="http://schemas.microsoft.com/office/powerpoint/2010/main" val="2057239642"/>
              </p:ext>
            </p:extLst>
          </p:nvPr>
        </p:nvGraphicFramePr>
        <p:xfrm>
          <a:off x="6724650" y="5522913"/>
          <a:ext cx="2935288" cy="604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1"/>
          </a:graphicData>
        </a:graphic>
      </p:graphicFrame>
      <p:cxnSp>
        <p:nvCxnSpPr>
          <p:cNvPr id="606" name="Straight Connector 605">
            <a:extLst>
              <a:ext uri="{FF2B5EF4-FFF2-40B4-BE49-F238E27FC236}">
                <a16:creationId xmlns:a16="http://schemas.microsoft.com/office/drawing/2014/main" id="{7EB17C4C-279A-44C0-8172-B2C83CCBDCBE}"/>
              </a:ext>
            </a:extLst>
          </p:cNvPr>
          <p:cNvCxnSpPr/>
          <p:nvPr>
            <p:custDataLst>
              <p:tags r:id="rId85"/>
            </p:custDataLst>
          </p:nvPr>
        </p:nvCxnSpPr>
        <p:spPr bwMode="gray">
          <a:xfrm flipV="1">
            <a:off x="7269163" y="4940300"/>
            <a:ext cx="0" cy="42227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7" name="Straight Connector 606">
            <a:extLst>
              <a:ext uri="{FF2B5EF4-FFF2-40B4-BE49-F238E27FC236}">
                <a16:creationId xmlns:a16="http://schemas.microsoft.com/office/drawing/2014/main" id="{71B5810D-D794-42B7-AB6A-74AD00E6A4F6}"/>
              </a:ext>
            </a:extLst>
          </p:cNvPr>
          <p:cNvCxnSpPr/>
          <p:nvPr>
            <p:custDataLst>
              <p:tags r:id="rId86"/>
            </p:custDataLst>
          </p:nvPr>
        </p:nvCxnSpPr>
        <p:spPr bwMode="gray">
          <a:xfrm>
            <a:off x="7269163" y="4940300"/>
            <a:ext cx="78422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0A6A451B-72D3-43B9-B123-79B7162095B5}"/>
              </a:ext>
            </a:extLst>
          </p:cNvPr>
          <p:cNvCxnSpPr/>
          <p:nvPr>
            <p:custDataLst>
              <p:tags r:id="rId87"/>
            </p:custDataLst>
          </p:nvPr>
        </p:nvCxnSpPr>
        <p:spPr bwMode="gray">
          <a:xfrm>
            <a:off x="8367713" y="4940300"/>
            <a:ext cx="785813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9" name="Straight Connector 608">
            <a:extLst>
              <a:ext uri="{FF2B5EF4-FFF2-40B4-BE49-F238E27FC236}">
                <a16:creationId xmlns:a16="http://schemas.microsoft.com/office/drawing/2014/main" id="{7755BC0B-2389-42B6-8314-E8ED3E9701E2}"/>
              </a:ext>
            </a:extLst>
          </p:cNvPr>
          <p:cNvCxnSpPr/>
          <p:nvPr>
            <p:custDataLst>
              <p:tags r:id="rId88"/>
            </p:custDataLst>
          </p:nvPr>
        </p:nvCxnSpPr>
        <p:spPr bwMode="gray">
          <a:xfrm>
            <a:off x="9153525" y="4940300"/>
            <a:ext cx="0" cy="4111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3" name="Straight Connector 612">
            <a:extLst>
              <a:ext uri="{FF2B5EF4-FFF2-40B4-BE49-F238E27FC236}">
                <a16:creationId xmlns:a16="http://schemas.microsoft.com/office/drawing/2014/main" id="{38E37BD9-AD61-4B77-96ED-8612485D2B07}"/>
              </a:ext>
            </a:extLst>
          </p:cNvPr>
          <p:cNvCxnSpPr>
            <a:cxnSpLocks/>
          </p:cNvCxnSpPr>
          <p:nvPr>
            <p:custDataLst>
              <p:tags r:id="rId89"/>
            </p:custDataLst>
          </p:nvPr>
        </p:nvCxnSpPr>
        <p:spPr bwMode="gray">
          <a:xfrm flipV="1">
            <a:off x="8191500" y="5133975"/>
            <a:ext cx="0" cy="15240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0" name="Straight Connector 619">
            <a:extLst>
              <a:ext uri="{FF2B5EF4-FFF2-40B4-BE49-F238E27FC236}">
                <a16:creationId xmlns:a16="http://schemas.microsoft.com/office/drawing/2014/main" id="{F336D259-69D2-430B-A46F-8C8758A52BE8}"/>
              </a:ext>
            </a:extLst>
          </p:cNvPr>
          <p:cNvCxnSpPr/>
          <p:nvPr>
            <p:custDataLst>
              <p:tags r:id="rId90"/>
            </p:custDataLst>
          </p:nvPr>
        </p:nvCxnSpPr>
        <p:spPr bwMode="gray">
          <a:xfrm>
            <a:off x="8191500" y="5133975"/>
            <a:ext cx="2619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58E30205-0F69-4E45-8301-851AC2228288}"/>
              </a:ext>
            </a:extLst>
          </p:cNvPr>
          <p:cNvCxnSpPr/>
          <p:nvPr>
            <p:custDataLst>
              <p:tags r:id="rId91"/>
            </p:custDataLst>
          </p:nvPr>
        </p:nvCxnSpPr>
        <p:spPr bwMode="gray">
          <a:xfrm>
            <a:off x="8815388" y="5133975"/>
            <a:ext cx="2619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2" name="Straight Connector 621">
            <a:extLst>
              <a:ext uri="{FF2B5EF4-FFF2-40B4-BE49-F238E27FC236}">
                <a16:creationId xmlns:a16="http://schemas.microsoft.com/office/drawing/2014/main" id="{F97E47D3-5FDE-4083-940E-76EB470FA270}"/>
              </a:ext>
            </a:extLst>
          </p:cNvPr>
          <p:cNvCxnSpPr/>
          <p:nvPr>
            <p:custDataLst>
              <p:tags r:id="rId92"/>
            </p:custDataLst>
          </p:nvPr>
        </p:nvCxnSpPr>
        <p:spPr bwMode="gray">
          <a:xfrm>
            <a:off x="9077325" y="5133975"/>
            <a:ext cx="0" cy="21748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8" name="Text Placeholder 2">
            <a:extLst>
              <a:ext uri="{FF2B5EF4-FFF2-40B4-BE49-F238E27FC236}">
                <a16:creationId xmlns:a16="http://schemas.microsoft.com/office/drawing/2014/main" id="{4B1A29E0-77DD-496E-BDB7-8186C927D518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7169150" y="5602288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1B1AE1-8773-4070-B2BD-C09D696447B8}" type="datetime'''''''''''''''''''''''''''''''3''''''5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35</a:t>
            </a:fld>
            <a:endParaRPr lang="en-US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47" name="Text Placeholder 3">
            <a:extLst>
              <a:ext uri="{FF2B5EF4-FFF2-40B4-BE49-F238E27FC236}">
                <a16:creationId xmlns:a16="http://schemas.microsoft.com/office/drawing/2014/main" id="{F3B5D9F6-68A8-4E8E-AC45-617B7EC61E22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7062788" y="6096000"/>
            <a:ext cx="4143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4F8A345-84B8-4FB2-98C2-ECFEABBEE96A}" type="datetime'''''''''''J''u''n''''''''''''''''’''''''''2''2'''''''''''''''">
              <a:rPr lang="en-US" altLang="en-US" smtClean="0"/>
              <a:pPr/>
              <a:t>Jun’22</a:t>
            </a:fld>
            <a:endParaRPr lang="en-US" dirty="0">
              <a:sym typeface="+mn-lt"/>
            </a:endParaRPr>
          </a:p>
        </p:txBody>
      </p:sp>
      <p:sp>
        <p:nvSpPr>
          <p:cNvPr id="450" name="Text Placeholder 2">
            <a:extLst>
              <a:ext uri="{FF2B5EF4-FFF2-40B4-BE49-F238E27FC236}">
                <a16:creationId xmlns:a16="http://schemas.microsoft.com/office/drawing/2014/main" id="{43CD7733-E6D8-4646-8385-9AB599529672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8091488" y="5526088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57E4EE-E952-465B-89C8-08E728EA32BE}" type="datetime'''''''''''''''''''''''''''''''''''''''''''''''1''8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8</a:t>
            </a:fld>
            <a:endParaRPr lang="en-US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51" name="Text Placeholder 3">
            <a:extLst>
              <a:ext uri="{FF2B5EF4-FFF2-40B4-BE49-F238E27FC236}">
                <a16:creationId xmlns:a16="http://schemas.microsoft.com/office/drawing/2014/main" id="{45752209-3438-4740-AA1D-FFAC90634E8B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7951788" y="6096000"/>
            <a:ext cx="47942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7A0C17E-4F9D-41E9-BF2C-9393A5D0A381}" type="datetime'''''''''''''''''''''''''''''''May''''''''’''2''''''3'''''''''">
              <a:rPr lang="en-US" altLang="en-US" smtClean="0"/>
              <a:pPr/>
              <a:t>May’23</a:t>
            </a:fld>
            <a:endParaRPr lang="en-US" dirty="0">
              <a:sym typeface="+mn-lt"/>
            </a:endParaRPr>
          </a:p>
        </p:txBody>
      </p:sp>
      <p:sp>
        <p:nvSpPr>
          <p:cNvPr id="449" name="Text Placeholder 2">
            <a:extLst>
              <a:ext uri="{FF2B5EF4-FFF2-40B4-BE49-F238E27FC236}">
                <a16:creationId xmlns:a16="http://schemas.microsoft.com/office/drawing/2014/main" id="{BC5DD50A-FD23-471D-80DC-60E535C7446C}"/>
              </a:ext>
            </a:extLst>
          </p:cNvPr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9015413" y="5591175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A4FAED-3F1C-4289-9C51-9E06814135E0}" type="datetime'''''''1''''5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5</a:t>
            </a:fld>
            <a:endParaRPr lang="en-US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46" name="Text Placeholder 3">
            <a:extLst>
              <a:ext uri="{FF2B5EF4-FFF2-40B4-BE49-F238E27FC236}">
                <a16:creationId xmlns:a16="http://schemas.microsoft.com/office/drawing/2014/main" id="{E1A7B9AE-F501-4577-814C-03A56864F89E}"/>
              </a:ext>
            </a:extLst>
          </p:cNvPr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8909050" y="6096000"/>
            <a:ext cx="4143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5AC1D88-5834-4044-88C5-CBA20DC39103}" type="datetime'''''''''''''''''J''''''''un''''''''''''''’''''''''''2''3'">
              <a:rPr lang="en-US" altLang="en-US" smtClean="0"/>
              <a:pPr/>
              <a:t>Jun’23</a:t>
            </a:fld>
            <a:endParaRPr lang="en-US" dirty="0">
              <a:sym typeface="+mn-lt"/>
            </a:endParaRPr>
          </a:p>
        </p:txBody>
      </p:sp>
      <p:sp>
        <p:nvSpPr>
          <p:cNvPr id="453" name="Text Placeholder 2">
            <a:extLst>
              <a:ext uri="{FF2B5EF4-FFF2-40B4-BE49-F238E27FC236}">
                <a16:creationId xmlns:a16="http://schemas.microsoft.com/office/drawing/2014/main" id="{7A1F9465-F07E-4767-B2A0-B48F1CB7A9EC}"/>
              </a:ext>
            </a:extLst>
          </p:cNvPr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7131051" y="5400675"/>
            <a:ext cx="2778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0E0B70D7-5496-4B8B-927E-7C13DA22F578}" type="datetime'''''''''''''''''87''''''''''''''''''''''''''''''''''''0'">
              <a:rPr lang="en-US" altLang="en-US" sz="1200" smtClean="0"/>
              <a:pPr/>
              <a:t>870</a:t>
            </a:fld>
            <a:endParaRPr lang="en-US" sz="1200" dirty="0">
              <a:sym typeface="+mn-lt"/>
            </a:endParaRPr>
          </a:p>
        </p:txBody>
      </p:sp>
      <p:sp>
        <p:nvSpPr>
          <p:cNvPr id="452" name="Text Placeholder 2">
            <a:extLst>
              <a:ext uri="{FF2B5EF4-FFF2-40B4-BE49-F238E27FC236}">
                <a16:creationId xmlns:a16="http://schemas.microsoft.com/office/drawing/2014/main" id="{E9A4776C-5220-4679-8AEE-028068DDD2D6}"/>
              </a:ext>
            </a:extLst>
          </p:cNvPr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7994649" y="5324475"/>
            <a:ext cx="3937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DBFFE604-352C-40D8-8EF2-F3BAEAA2ED5E}" type="datetime'''''1'''''''''''''''''''''''',''''''0''''''4''''''''''4'''''">
              <a:rPr lang="en-US" altLang="en-US" sz="1200" smtClean="0"/>
              <a:pPr/>
              <a:t>1,044</a:t>
            </a:fld>
            <a:endParaRPr lang="en-US" sz="1200" dirty="0">
              <a:sym typeface="+mn-lt"/>
            </a:endParaRPr>
          </a:p>
        </p:txBody>
      </p:sp>
      <p:sp>
        <p:nvSpPr>
          <p:cNvPr id="454" name="Text Placeholder 2">
            <a:extLst>
              <a:ext uri="{FF2B5EF4-FFF2-40B4-BE49-F238E27FC236}">
                <a16:creationId xmlns:a16="http://schemas.microsoft.com/office/drawing/2014/main" id="{91E81BA8-AC59-4121-B696-D7A63F837FA0}"/>
              </a:ext>
            </a:extLst>
          </p:cNvPr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8977314" y="5389563"/>
            <a:ext cx="2778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9D559443-5C8C-4F39-8B4B-233F7EC530DD}" type="datetime'''''''''''''''8''''''''''''''''''''''''''''''''91'">
              <a:rPr lang="en-US" altLang="en-US" sz="1200" smtClean="0"/>
              <a:pPr/>
              <a:t>891</a:t>
            </a:fld>
            <a:endParaRPr lang="en-US" sz="1200" dirty="0">
              <a:sym typeface="+mn-lt"/>
            </a:endParaRPr>
          </a:p>
        </p:txBody>
      </p:sp>
      <p:sp>
        <p:nvSpPr>
          <p:cNvPr id="27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02"/>
            </p:custDataLst>
          </p:nvPr>
        </p:nvSpPr>
        <p:spPr bwMode="auto">
          <a:xfrm>
            <a:off x="8024813" y="4822825"/>
            <a:ext cx="373063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19EF02-5E88-4BAB-AE70-3641E1390F14}" type="datetime'''''''''''''''''''''''''+''''''''''''2%'''''''''''''''''''">
              <a:rPr lang="en-US" altLang="en-US" sz="1200" smtClean="0"/>
              <a:pPr/>
              <a:t>+2%</a:t>
            </a:fld>
            <a:endParaRPr lang="en-US" sz="1200" dirty="0">
              <a:sym typeface="+mn-lt"/>
            </a:endParaRPr>
          </a:p>
        </p:txBody>
      </p:sp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03"/>
            </p:custDataLst>
          </p:nvPr>
        </p:nvSpPr>
        <p:spPr bwMode="auto">
          <a:xfrm>
            <a:off x="8413750" y="5016500"/>
            <a:ext cx="441325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solidFill>
                  <a:srgbClr val="FF0000"/>
                </a:solidFill>
              </a:rPr>
              <a:t>-15</a:t>
            </a:r>
            <a:r>
              <a:rPr lang="en-US" altLang="en-US" sz="1200" dirty="0">
                <a:solidFill>
                  <a:srgbClr val="FF0000"/>
                </a:solidFill>
                <a:effectLst/>
                <a:sym typeface="+mn-lt"/>
              </a:rPr>
              <a:t>%</a:t>
            </a:r>
            <a:endParaRPr lang="en-US" sz="1200" dirty="0">
              <a:solidFill>
                <a:srgbClr val="FF0000"/>
              </a:solidFill>
              <a:sym typeface="+mn-lt"/>
            </a:endParaRPr>
          </a:p>
        </p:txBody>
      </p:sp>
      <p:graphicFrame>
        <p:nvGraphicFramePr>
          <p:cNvPr id="62" name="Chart 61">
            <a:extLst>
              <a:ext uri="{FF2B5EF4-FFF2-40B4-BE49-F238E27FC236}">
                <a16:creationId xmlns:a16="http://schemas.microsoft.com/office/drawing/2014/main" id="{DA6C92A6-EC80-0E90-21B9-1D36A80F6202}"/>
              </a:ext>
            </a:extLst>
          </p:cNvPr>
          <p:cNvGraphicFramePr/>
          <p:nvPr>
            <p:custDataLst>
              <p:tags r:id="rId104"/>
            </p:custDataLst>
            <p:extLst>
              <p:ext uri="{D42A27DB-BD31-4B8C-83A1-F6EECF244321}">
                <p14:modId xmlns:p14="http://schemas.microsoft.com/office/powerpoint/2010/main" val="3583278920"/>
              </p:ext>
            </p:extLst>
          </p:nvPr>
        </p:nvGraphicFramePr>
        <p:xfrm>
          <a:off x="8650288" y="3841750"/>
          <a:ext cx="2935287" cy="560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2"/>
          </a:graphicData>
        </a:graphic>
      </p:graphicFrame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17AD3EB-3DEB-4680-B5BA-F8B055D69629}"/>
              </a:ext>
            </a:extLst>
          </p:cNvPr>
          <p:cNvCxnSpPr/>
          <p:nvPr>
            <p:custDataLst>
              <p:tags r:id="rId105"/>
            </p:custDataLst>
          </p:nvPr>
        </p:nvCxnSpPr>
        <p:spPr bwMode="gray">
          <a:xfrm flipV="1">
            <a:off x="9194800" y="3333750"/>
            <a:ext cx="0" cy="29368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6B2A38C-C2EF-47D7-A810-18562363C60D}"/>
              </a:ext>
            </a:extLst>
          </p:cNvPr>
          <p:cNvCxnSpPr/>
          <p:nvPr>
            <p:custDataLst>
              <p:tags r:id="rId106"/>
            </p:custDataLst>
          </p:nvPr>
        </p:nvCxnSpPr>
        <p:spPr bwMode="gray">
          <a:xfrm>
            <a:off x="9194800" y="3333750"/>
            <a:ext cx="760413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5689A49-6820-4B3D-85CD-CA0105DF1AFC}"/>
              </a:ext>
            </a:extLst>
          </p:cNvPr>
          <p:cNvCxnSpPr/>
          <p:nvPr>
            <p:custDataLst>
              <p:tags r:id="rId107"/>
            </p:custDataLst>
          </p:nvPr>
        </p:nvCxnSpPr>
        <p:spPr bwMode="gray">
          <a:xfrm>
            <a:off x="10317163" y="3333750"/>
            <a:ext cx="762000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B20C5C-9F84-4532-8B95-3AD9E73E63AC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gray">
          <a:xfrm>
            <a:off x="11079163" y="3333750"/>
            <a:ext cx="0" cy="34607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98483DC0-7247-E1A7-4B28-BB0BB08187BC}"/>
              </a:ext>
            </a:extLst>
          </p:cNvPr>
          <p:cNvCxnSpPr/>
          <p:nvPr>
            <p:custDataLst>
              <p:tags r:id="rId109"/>
            </p:custDataLst>
          </p:nvPr>
        </p:nvCxnSpPr>
        <p:spPr bwMode="gray">
          <a:xfrm flipV="1">
            <a:off x="10117138" y="3527425"/>
            <a:ext cx="0" cy="15240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7DBD5187-D69F-CF36-BC10-9894F59B5983}"/>
              </a:ext>
            </a:extLst>
          </p:cNvPr>
          <p:cNvCxnSpPr/>
          <p:nvPr>
            <p:custDataLst>
              <p:tags r:id="rId110"/>
            </p:custDataLst>
          </p:nvPr>
        </p:nvCxnSpPr>
        <p:spPr bwMode="gray">
          <a:xfrm>
            <a:off x="10117137" y="3527425"/>
            <a:ext cx="323850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4D96ADA1-38F3-56CC-D679-D912D4C7323A}"/>
              </a:ext>
            </a:extLst>
          </p:cNvPr>
          <p:cNvCxnSpPr/>
          <p:nvPr>
            <p:custDataLst>
              <p:tags r:id="rId111"/>
            </p:custDataLst>
          </p:nvPr>
        </p:nvCxnSpPr>
        <p:spPr bwMode="gray">
          <a:xfrm>
            <a:off x="10679113" y="3527425"/>
            <a:ext cx="323850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DBD04122-0B1E-85BB-C6E9-96F31FB6EF35}"/>
              </a:ext>
            </a:extLst>
          </p:cNvPr>
          <p:cNvCxnSpPr/>
          <p:nvPr>
            <p:custDataLst>
              <p:tags r:id="rId112"/>
            </p:custDataLst>
          </p:nvPr>
        </p:nvCxnSpPr>
        <p:spPr bwMode="gray">
          <a:xfrm>
            <a:off x="11002963" y="3527425"/>
            <a:ext cx="0" cy="15240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0" name="Text Placeholder 2">
            <a:extLst>
              <a:ext uri="{FF2B5EF4-FFF2-40B4-BE49-F238E27FC236}">
                <a16:creationId xmlns:a16="http://schemas.microsoft.com/office/drawing/2014/main" id="{054C5DF3-C4EB-42E1-AFDC-83F7B84714B2}"/>
              </a:ext>
            </a:extLst>
          </p:cNvPr>
          <p:cNvSpPr>
            <a:spLocks noGrp="1"/>
          </p:cNvSpPr>
          <p:nvPr>
            <p:custDataLst>
              <p:tags r:id="rId113"/>
            </p:custDataLst>
          </p:nvPr>
        </p:nvSpPr>
        <p:spPr bwMode="gray">
          <a:xfrm>
            <a:off x="9094788" y="3867150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B25B6F-3FA5-413D-83B7-720D17DBE154}" type="datetime'''''''3''2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32</a:t>
            </a:fld>
            <a:endParaRPr lang="en-US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41" name="Text Placeholder 3">
            <a:extLst>
              <a:ext uri="{FF2B5EF4-FFF2-40B4-BE49-F238E27FC236}">
                <a16:creationId xmlns:a16="http://schemas.microsoft.com/office/drawing/2014/main" id="{3F321C17-F3A7-4AE9-9B89-B4E3FAE66CB7}"/>
              </a:ext>
            </a:extLst>
          </p:cNvPr>
          <p:cNvSpPr>
            <a:spLocks noGrp="1"/>
          </p:cNvSpPr>
          <p:nvPr>
            <p:custDataLst>
              <p:tags r:id="rId114"/>
            </p:custDataLst>
          </p:nvPr>
        </p:nvSpPr>
        <p:spPr bwMode="auto">
          <a:xfrm>
            <a:off x="8988425" y="4370388"/>
            <a:ext cx="4143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4BF8718-B8F3-486F-A66D-22D845C02962}" type="datetime'''Ju''''''''''''''n''''''’2''''''''''''''2'''''''''">
              <a:rPr lang="en-US" altLang="en-US" smtClean="0"/>
              <a:pPr/>
              <a:t>Jun’22</a:t>
            </a:fld>
            <a:endParaRPr lang="en-US" dirty="0">
              <a:sym typeface="+mn-lt"/>
            </a:endParaRPr>
          </a:p>
        </p:txBody>
      </p:sp>
      <p:sp>
        <p:nvSpPr>
          <p:cNvPr id="542" name="Text Placeholder 2">
            <a:extLst>
              <a:ext uri="{FF2B5EF4-FFF2-40B4-BE49-F238E27FC236}">
                <a16:creationId xmlns:a16="http://schemas.microsoft.com/office/drawing/2014/main" id="{D6BF1E82-3672-404A-B037-3EF4EB2C4B7E}"/>
              </a:ext>
            </a:extLst>
          </p:cNvPr>
          <p:cNvSpPr>
            <a:spLocks noGrp="1"/>
          </p:cNvSpPr>
          <p:nvPr>
            <p:custDataLst>
              <p:tags r:id="rId115"/>
            </p:custDataLst>
          </p:nvPr>
        </p:nvSpPr>
        <p:spPr bwMode="gray">
          <a:xfrm>
            <a:off x="10017125" y="3919538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37BF91-AC6F-4FC4-9B31-0B854894A367}" type="datetime'''''''3''''''''''''''''''''''''''''0'">
              <a:rPr lang="en-US" altLang="en-US" sz="1200" smtClean="0">
                <a:solidFill>
                  <a:schemeClr val="bg1"/>
                </a:solidFill>
                <a:effectLst/>
              </a:rPr>
              <a:pPr/>
              <a:t>30</a:t>
            </a:fld>
            <a:endParaRPr lang="en-US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39" name="Text Placeholder 3">
            <a:extLst>
              <a:ext uri="{FF2B5EF4-FFF2-40B4-BE49-F238E27FC236}">
                <a16:creationId xmlns:a16="http://schemas.microsoft.com/office/drawing/2014/main" id="{FD215458-EBBF-4C80-BFAB-51277F7A0D71}"/>
              </a:ext>
            </a:extLst>
          </p:cNvPr>
          <p:cNvSpPr>
            <a:spLocks noGrp="1"/>
          </p:cNvSpPr>
          <p:nvPr>
            <p:custDataLst>
              <p:tags r:id="rId116"/>
            </p:custDataLst>
          </p:nvPr>
        </p:nvSpPr>
        <p:spPr bwMode="auto">
          <a:xfrm>
            <a:off x="9877425" y="4370388"/>
            <a:ext cx="47942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2BFDCD5-66CE-4D18-AA0F-66147E1CBB21}" type="datetime'''''M''''''a''''y''''’''''''''''2''''''''''''''''''3'''''''">
              <a:rPr lang="en-US" altLang="en-US" smtClean="0"/>
              <a:pPr/>
              <a:t>May’23</a:t>
            </a:fld>
            <a:endParaRPr lang="en-US" dirty="0">
              <a:sym typeface="+mn-lt"/>
            </a:endParaRPr>
          </a:p>
        </p:txBody>
      </p:sp>
      <p:sp>
        <p:nvSpPr>
          <p:cNvPr id="544" name="Text Placeholder 2">
            <a:extLst>
              <a:ext uri="{FF2B5EF4-FFF2-40B4-BE49-F238E27FC236}">
                <a16:creationId xmlns:a16="http://schemas.microsoft.com/office/drawing/2014/main" id="{786B2F32-2EDF-4B05-931B-723E3FFAC1A7}"/>
              </a:ext>
            </a:extLst>
          </p:cNvPr>
          <p:cNvSpPr>
            <a:spLocks noGrp="1"/>
          </p:cNvSpPr>
          <p:nvPr>
            <p:custDataLst>
              <p:tags r:id="rId117"/>
            </p:custDataLst>
          </p:nvPr>
        </p:nvSpPr>
        <p:spPr bwMode="gray">
          <a:xfrm>
            <a:off x="10941050" y="3919538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2474C7-C6AE-478B-81A4-A681C077F4AE}" type="datetime'''''''3''''8''''''''''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38</a:t>
            </a:fld>
            <a:endParaRPr lang="en-US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45" name="Text Placeholder 3">
            <a:extLst>
              <a:ext uri="{FF2B5EF4-FFF2-40B4-BE49-F238E27FC236}">
                <a16:creationId xmlns:a16="http://schemas.microsoft.com/office/drawing/2014/main" id="{EBBB7B80-FD8F-44AE-8DB4-6E986D845C61}"/>
              </a:ext>
            </a:extLst>
          </p:cNvPr>
          <p:cNvSpPr>
            <a:spLocks noGrp="1"/>
          </p:cNvSpPr>
          <p:nvPr>
            <p:custDataLst>
              <p:tags r:id="rId118"/>
            </p:custDataLst>
          </p:nvPr>
        </p:nvSpPr>
        <p:spPr bwMode="auto">
          <a:xfrm>
            <a:off x="10834688" y="4370388"/>
            <a:ext cx="4143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BB19BC7-A9B9-4B2E-9300-3EA7169571A0}" type="datetime'''''''''''''''''''''J''''''''''''''''''u''n''’2''3'''''">
              <a:rPr lang="en-US" altLang="en-US" smtClean="0"/>
              <a:pPr/>
              <a:t>Jun’23</a:t>
            </a:fld>
            <a:endParaRPr lang="en-US" dirty="0">
              <a:sym typeface="+mn-lt"/>
            </a:endParaRPr>
          </a:p>
        </p:txBody>
      </p:sp>
      <p:sp>
        <p:nvSpPr>
          <p:cNvPr id="543" name="Text Placeholder 2">
            <a:extLst>
              <a:ext uri="{FF2B5EF4-FFF2-40B4-BE49-F238E27FC236}">
                <a16:creationId xmlns:a16="http://schemas.microsoft.com/office/drawing/2014/main" id="{43CA2F82-24E8-4CD3-AE87-CE2BB38D54AB}"/>
              </a:ext>
            </a:extLst>
          </p:cNvPr>
          <p:cNvSpPr>
            <a:spLocks noGrp="1"/>
          </p:cNvSpPr>
          <p:nvPr>
            <p:custDataLst>
              <p:tags r:id="rId119"/>
            </p:custDataLst>
          </p:nvPr>
        </p:nvSpPr>
        <p:spPr bwMode="gray">
          <a:xfrm>
            <a:off x="9056688" y="3665538"/>
            <a:ext cx="2778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831EE83C-BD80-46AB-9A78-873B4BDFE249}" type="datetime'''''''''''''''''''''''''''2''''''''''4''''''9'">
              <a:rPr lang="en-US" altLang="en-US" sz="1200" smtClean="0"/>
              <a:pPr/>
              <a:t>249</a:t>
            </a:fld>
            <a:endParaRPr lang="en-US" sz="1200" dirty="0">
              <a:sym typeface="+mn-lt"/>
            </a:endParaRPr>
          </a:p>
        </p:txBody>
      </p:sp>
      <p:sp>
        <p:nvSpPr>
          <p:cNvPr id="547" name="Text Placeholder 2">
            <a:extLst>
              <a:ext uri="{FF2B5EF4-FFF2-40B4-BE49-F238E27FC236}">
                <a16:creationId xmlns:a16="http://schemas.microsoft.com/office/drawing/2014/main" id="{6E566604-7138-443C-AABB-786C15F2DCE9}"/>
              </a:ext>
            </a:extLst>
          </p:cNvPr>
          <p:cNvSpPr>
            <a:spLocks noGrp="1"/>
          </p:cNvSpPr>
          <p:nvPr>
            <p:custDataLst>
              <p:tags r:id="rId120"/>
            </p:custDataLst>
          </p:nvPr>
        </p:nvSpPr>
        <p:spPr bwMode="gray">
          <a:xfrm>
            <a:off x="9979025" y="3717925"/>
            <a:ext cx="2778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104C45D4-DF93-46DD-80B5-9B2235B4099A}" type="datetime'''''''''''''''''''2''''1''''''''''''''''''''''5'''">
              <a:rPr lang="en-US" altLang="en-US" sz="1200" smtClean="0"/>
              <a:pPr/>
              <a:t>215</a:t>
            </a:fld>
            <a:endParaRPr lang="en-US" sz="1200" dirty="0">
              <a:sym typeface="+mn-lt"/>
            </a:endParaRPr>
          </a:p>
        </p:txBody>
      </p:sp>
      <p:sp>
        <p:nvSpPr>
          <p:cNvPr id="546" name="Text Placeholder 2">
            <a:extLst>
              <a:ext uri="{FF2B5EF4-FFF2-40B4-BE49-F238E27FC236}">
                <a16:creationId xmlns:a16="http://schemas.microsoft.com/office/drawing/2014/main" id="{78BE04B8-4C16-49BF-BBA6-8C2A3C2F8C33}"/>
              </a:ext>
            </a:extLst>
          </p:cNvPr>
          <p:cNvSpPr>
            <a:spLocks noGrp="1"/>
          </p:cNvSpPr>
          <p:nvPr>
            <p:custDataLst>
              <p:tags r:id="rId121"/>
            </p:custDataLst>
          </p:nvPr>
        </p:nvSpPr>
        <p:spPr bwMode="gray">
          <a:xfrm>
            <a:off x="10902950" y="3717925"/>
            <a:ext cx="2778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25F164AF-5EFC-495D-9DED-51D1A05C6276}" type="datetime'''''''''''''2''''''''''''''''''''''1''''''''9'''''''">
              <a:rPr lang="en-US" altLang="en-US" sz="1200" smtClean="0"/>
              <a:pPr/>
              <a:t>219</a:t>
            </a:fld>
            <a:endParaRPr lang="en-US" sz="1200" dirty="0">
              <a:sym typeface="+mn-lt"/>
            </a:endParaRPr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22"/>
            </p:custDataLst>
          </p:nvPr>
        </p:nvSpPr>
        <p:spPr bwMode="auto">
          <a:xfrm>
            <a:off x="9915525" y="3216275"/>
            <a:ext cx="441325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B6EEF7-71D2-4AD9-B839-AA3E3D9956D6}" type="datetime'''''''''-''''''''''1''''''''''''''''''''''''''2''''''%'''">
              <a:rPr lang="en-US" altLang="en-US" sz="1200" smtClean="0">
                <a:solidFill>
                  <a:srgbClr val="FF0000"/>
                </a:solidFill>
              </a:rPr>
              <a:pPr/>
              <a:t>-12%</a:t>
            </a:fld>
            <a:endParaRPr lang="en-US" sz="1200" dirty="0">
              <a:solidFill>
                <a:srgbClr val="FF0000"/>
              </a:solidFill>
              <a:sym typeface="+mn-lt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23"/>
            </p:custDataLst>
          </p:nvPr>
        </p:nvSpPr>
        <p:spPr bwMode="auto">
          <a:xfrm>
            <a:off x="10428289" y="3409950"/>
            <a:ext cx="265113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BC6EE2-B6EB-4A64-8B93-396F3DA84BC2}" type="datetime'''''''''''''''''''''''''''''''''2'''''''''">
              <a:rPr lang="en-US" altLang="en-US" sz="1200" smtClean="0"/>
              <a:pPr/>
              <a:t>2</a:t>
            </a:fld>
            <a:r>
              <a:rPr lang="en-US" altLang="en-US" sz="1200" dirty="0"/>
              <a:t>%</a:t>
            </a:r>
            <a:endParaRPr lang="en-US" sz="1200" dirty="0">
              <a:sym typeface="+mn-lt"/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8A96B73C-2C80-43B1-A6BB-23A1F4077304}"/>
              </a:ext>
            </a:extLst>
          </p:cNvPr>
          <p:cNvSpPr txBox="1"/>
          <p:nvPr/>
        </p:nvSpPr>
        <p:spPr>
          <a:xfrm>
            <a:off x="528805" y="2023809"/>
            <a:ext cx="904968" cy="1682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sym typeface="Trebuchet MS" panose="020B0603020202020204" pitchFamily="34" charset="0"/>
              </a:rPr>
              <a:t>Units sold</a:t>
            </a:r>
          </a:p>
        </p:txBody>
      </p:sp>
    </p:spTree>
    <p:extLst>
      <p:ext uri="{BB962C8B-B14F-4D97-AF65-F5344CB8AC3E}">
        <p14:creationId xmlns:p14="http://schemas.microsoft.com/office/powerpoint/2010/main" val="258407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576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286" imgH="286" progId="TCLayout.ActiveDocument.1">
                  <p:embed/>
                </p:oleObj>
              </mc:Choice>
              <mc:Fallback>
                <p:oleObj name="think-cell Slide" r:id="rId1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" name="Rectangle 169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7855" y="203477"/>
            <a:ext cx="11862614" cy="397432"/>
          </a:xfrm>
        </p:spPr>
        <p:txBody>
          <a:bodyPr vert="horz" anchor="t"/>
          <a:lstStyle/>
          <a:p>
            <a:r>
              <a:rPr lang="en-US" dirty="0">
                <a:solidFill>
                  <a:schemeClr val="bg1"/>
                </a:solidFill>
              </a:rPr>
              <a:t>Construction Equipment Sales: June'23 data shows YoY growth for three equipment segmen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CD6853F-5280-49F2-B31F-1CA5E717BF7C}"/>
              </a:ext>
            </a:extLst>
          </p:cNvPr>
          <p:cNvSpPr/>
          <p:nvPr/>
        </p:nvSpPr>
        <p:spPr>
          <a:xfrm>
            <a:off x="8062598" y="1368291"/>
            <a:ext cx="3407768" cy="215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400" dirty="0">
                <a:solidFill>
                  <a:srgbClr val="1E50A0"/>
                </a:solidFill>
                <a:sym typeface="Trebuchet MS" panose="020B0603020202020204" pitchFamily="34" charset="0"/>
              </a:rPr>
              <a:t>Year-on-year change (over June’22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A9BA638-AF83-46C2-B2CC-306095672A92}"/>
              </a:ext>
            </a:extLst>
          </p:cNvPr>
          <p:cNvSpPr/>
          <p:nvPr/>
        </p:nvSpPr>
        <p:spPr>
          <a:xfrm>
            <a:off x="4258582" y="1369880"/>
            <a:ext cx="3407768" cy="215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400" dirty="0">
                <a:solidFill>
                  <a:srgbClr val="1E50A0"/>
                </a:solidFill>
                <a:sym typeface="Trebuchet MS" panose="020B0603020202020204" pitchFamily="34" charset="0"/>
              </a:rPr>
              <a:t>Month-on-month change (over May’23)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455E788-A5E3-4173-8FC9-2D8920DE9926}"/>
              </a:ext>
            </a:extLst>
          </p:cNvPr>
          <p:cNvGrpSpPr>
            <a:grpSpLocks noChangeAspect="1"/>
          </p:cNvGrpSpPr>
          <p:nvPr/>
        </p:nvGrpSpPr>
        <p:grpSpPr>
          <a:xfrm>
            <a:off x="630000" y="2389055"/>
            <a:ext cx="476765" cy="476250"/>
            <a:chOff x="5273677" y="2606675"/>
            <a:chExt cx="1645920" cy="1644650"/>
          </a:xfrm>
        </p:grpSpPr>
        <p:sp>
          <p:nvSpPr>
            <p:cNvPr id="18" name="AutoShape 77">
              <a:extLst>
                <a:ext uri="{FF2B5EF4-FFF2-40B4-BE49-F238E27FC236}">
                  <a16:creationId xmlns:a16="http://schemas.microsoft.com/office/drawing/2014/main" id="{395ED78E-4E87-4CAB-A754-0A5DE4FCFFE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7" y="2606675"/>
              <a:ext cx="164592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ym typeface="Trebuchet MS" panose="020B0603020202020204" pitchFamily="34" charset="0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1F91A458-7F11-44BE-BDA2-E30C2A573D30}"/>
                </a:ext>
              </a:extLst>
            </p:cNvPr>
            <p:cNvGrpSpPr/>
            <p:nvPr/>
          </p:nvGrpSpPr>
          <p:grpSpPr>
            <a:xfrm>
              <a:off x="5457295" y="2790755"/>
              <a:ext cx="1280194" cy="1277999"/>
              <a:chOff x="5457295" y="2790755"/>
              <a:chExt cx="1280194" cy="1277999"/>
            </a:xfrm>
          </p:grpSpPr>
          <p:sp>
            <p:nvSpPr>
              <p:cNvPr id="20" name="Freeform 79">
                <a:extLst>
                  <a:ext uri="{FF2B5EF4-FFF2-40B4-BE49-F238E27FC236}">
                    <a16:creationId xmlns:a16="http://schemas.microsoft.com/office/drawing/2014/main" id="{8D66ADE0-E961-401C-8465-C0E2E38EAF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57295" y="2790755"/>
                <a:ext cx="1280194" cy="1277999"/>
              </a:xfrm>
              <a:custGeom>
                <a:avLst/>
                <a:gdLst>
                  <a:gd name="T0" fmla="*/ 1529 w 1792"/>
                  <a:gd name="T1" fmla="*/ 263 h 1790"/>
                  <a:gd name="T2" fmla="*/ 896 w 1792"/>
                  <a:gd name="T3" fmla="*/ 0 h 1790"/>
                  <a:gd name="T4" fmla="*/ 263 w 1792"/>
                  <a:gd name="T5" fmla="*/ 262 h 1790"/>
                  <a:gd name="T6" fmla="*/ 0 w 1792"/>
                  <a:gd name="T7" fmla="*/ 895 h 1790"/>
                  <a:gd name="T8" fmla="*/ 263 w 1792"/>
                  <a:gd name="T9" fmla="*/ 1528 h 1790"/>
                  <a:gd name="T10" fmla="*/ 896 w 1792"/>
                  <a:gd name="T11" fmla="*/ 1790 h 1790"/>
                  <a:gd name="T12" fmla="*/ 1529 w 1792"/>
                  <a:gd name="T13" fmla="*/ 1528 h 1790"/>
                  <a:gd name="T14" fmla="*/ 1792 w 1792"/>
                  <a:gd name="T15" fmla="*/ 895 h 1790"/>
                  <a:gd name="T16" fmla="*/ 1529 w 1792"/>
                  <a:gd name="T17" fmla="*/ 263 h 1790"/>
                  <a:gd name="T18" fmla="*/ 1498 w 1792"/>
                  <a:gd name="T19" fmla="*/ 1497 h 1790"/>
                  <a:gd name="T20" fmla="*/ 896 w 1792"/>
                  <a:gd name="T21" fmla="*/ 1746 h 1790"/>
                  <a:gd name="T22" fmla="*/ 294 w 1792"/>
                  <a:gd name="T23" fmla="*/ 1497 h 1790"/>
                  <a:gd name="T24" fmla="*/ 44 w 1792"/>
                  <a:gd name="T25" fmla="*/ 895 h 1790"/>
                  <a:gd name="T26" fmla="*/ 294 w 1792"/>
                  <a:gd name="T27" fmla="*/ 294 h 1790"/>
                  <a:gd name="T28" fmla="*/ 896 w 1792"/>
                  <a:gd name="T29" fmla="*/ 44 h 1790"/>
                  <a:gd name="T30" fmla="*/ 1498 w 1792"/>
                  <a:gd name="T31" fmla="*/ 294 h 1790"/>
                  <a:gd name="T32" fmla="*/ 1748 w 1792"/>
                  <a:gd name="T33" fmla="*/ 895 h 1790"/>
                  <a:gd name="T34" fmla="*/ 1498 w 1792"/>
                  <a:gd name="T35" fmla="*/ 1497 h 1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92" h="1790">
                    <a:moveTo>
                      <a:pt x="1529" y="263"/>
                    </a:moveTo>
                    <a:cubicBezTo>
                      <a:pt x="1361" y="93"/>
                      <a:pt x="1136" y="0"/>
                      <a:pt x="896" y="0"/>
                    </a:cubicBezTo>
                    <a:cubicBezTo>
                      <a:pt x="656" y="0"/>
                      <a:pt x="431" y="93"/>
                      <a:pt x="263" y="262"/>
                    </a:cubicBezTo>
                    <a:cubicBezTo>
                      <a:pt x="93" y="431"/>
                      <a:pt x="0" y="656"/>
                      <a:pt x="0" y="895"/>
                    </a:cubicBezTo>
                    <a:cubicBezTo>
                      <a:pt x="0" y="1135"/>
                      <a:pt x="93" y="1360"/>
                      <a:pt x="263" y="1528"/>
                    </a:cubicBezTo>
                    <a:cubicBezTo>
                      <a:pt x="431" y="1697"/>
                      <a:pt x="656" y="1790"/>
                      <a:pt x="896" y="1790"/>
                    </a:cubicBezTo>
                    <a:cubicBezTo>
                      <a:pt x="1136" y="1790"/>
                      <a:pt x="1361" y="1697"/>
                      <a:pt x="1529" y="1528"/>
                    </a:cubicBezTo>
                    <a:cubicBezTo>
                      <a:pt x="1699" y="1360"/>
                      <a:pt x="1792" y="1135"/>
                      <a:pt x="1792" y="895"/>
                    </a:cubicBezTo>
                    <a:cubicBezTo>
                      <a:pt x="1792" y="656"/>
                      <a:pt x="1699" y="431"/>
                      <a:pt x="1529" y="263"/>
                    </a:cubicBezTo>
                    <a:close/>
                    <a:moveTo>
                      <a:pt x="1498" y="1497"/>
                    </a:moveTo>
                    <a:cubicBezTo>
                      <a:pt x="1338" y="1658"/>
                      <a:pt x="1123" y="1746"/>
                      <a:pt x="896" y="1746"/>
                    </a:cubicBezTo>
                    <a:cubicBezTo>
                      <a:pt x="669" y="1746"/>
                      <a:pt x="454" y="1658"/>
                      <a:pt x="294" y="1497"/>
                    </a:cubicBezTo>
                    <a:cubicBezTo>
                      <a:pt x="132" y="1337"/>
                      <a:pt x="44" y="1122"/>
                      <a:pt x="44" y="895"/>
                    </a:cubicBezTo>
                    <a:cubicBezTo>
                      <a:pt x="44" y="668"/>
                      <a:pt x="132" y="454"/>
                      <a:pt x="294" y="294"/>
                    </a:cubicBezTo>
                    <a:cubicBezTo>
                      <a:pt x="454" y="133"/>
                      <a:pt x="669" y="44"/>
                      <a:pt x="896" y="44"/>
                    </a:cubicBezTo>
                    <a:cubicBezTo>
                      <a:pt x="1123" y="44"/>
                      <a:pt x="1338" y="133"/>
                      <a:pt x="1498" y="294"/>
                    </a:cubicBezTo>
                    <a:cubicBezTo>
                      <a:pt x="1660" y="454"/>
                      <a:pt x="1748" y="668"/>
                      <a:pt x="1748" y="895"/>
                    </a:cubicBezTo>
                    <a:cubicBezTo>
                      <a:pt x="1748" y="1122"/>
                      <a:pt x="1660" y="1337"/>
                      <a:pt x="1498" y="149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ym typeface="Trebuchet MS" panose="020B0603020202020204" pitchFamily="34" charset="0"/>
                </a:endParaRPr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8B27BEAE-C750-4C5D-932B-F340360BD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7998" y="2851409"/>
                <a:ext cx="1143255" cy="1156386"/>
              </a:xfrm>
              <a:custGeom>
                <a:avLst/>
                <a:gdLst>
                  <a:gd name="connsiteX0" fmla="*/ 533702 w 1143255"/>
                  <a:gd name="connsiteY0" fmla="*/ 1074544 h 1156386"/>
                  <a:gd name="connsiteX1" fmla="*/ 678794 w 1143255"/>
                  <a:gd name="connsiteY1" fmla="*/ 1144999 h 1156386"/>
                  <a:gd name="connsiteX2" fmla="*/ 676650 w 1143255"/>
                  <a:gd name="connsiteY2" fmla="*/ 1148558 h 1156386"/>
                  <a:gd name="connsiteX3" fmla="*/ 579445 w 1143255"/>
                  <a:gd name="connsiteY3" fmla="*/ 1156386 h 1156386"/>
                  <a:gd name="connsiteX4" fmla="*/ 462942 w 1143255"/>
                  <a:gd name="connsiteY4" fmla="*/ 1144999 h 1156386"/>
                  <a:gd name="connsiteX5" fmla="*/ 401474 w 1143255"/>
                  <a:gd name="connsiteY5" fmla="*/ 1128631 h 1156386"/>
                  <a:gd name="connsiteX6" fmla="*/ 400759 w 1143255"/>
                  <a:gd name="connsiteY6" fmla="*/ 1128631 h 1156386"/>
                  <a:gd name="connsiteX7" fmla="*/ 533702 w 1143255"/>
                  <a:gd name="connsiteY7" fmla="*/ 1074544 h 1156386"/>
                  <a:gd name="connsiteX8" fmla="*/ 900936 w 1143255"/>
                  <a:gd name="connsiteY8" fmla="*/ 803314 h 1156386"/>
                  <a:gd name="connsiteX9" fmla="*/ 901650 w 1143255"/>
                  <a:gd name="connsiteY9" fmla="*/ 803314 h 1156386"/>
                  <a:gd name="connsiteX10" fmla="*/ 916632 w 1143255"/>
                  <a:gd name="connsiteY10" fmla="*/ 897408 h 1156386"/>
                  <a:gd name="connsiteX11" fmla="*/ 856702 w 1143255"/>
                  <a:gd name="connsiteY11" fmla="*/ 923070 h 1156386"/>
                  <a:gd name="connsiteX12" fmla="*/ 855275 w 1143255"/>
                  <a:gd name="connsiteY12" fmla="*/ 920219 h 1156386"/>
                  <a:gd name="connsiteX13" fmla="*/ 865977 w 1143255"/>
                  <a:gd name="connsiteY13" fmla="*/ 839669 h 1156386"/>
                  <a:gd name="connsiteX14" fmla="*/ 900936 w 1143255"/>
                  <a:gd name="connsiteY14" fmla="*/ 803314 h 1156386"/>
                  <a:gd name="connsiteX15" fmla="*/ 8579 w 1143255"/>
                  <a:gd name="connsiteY15" fmla="*/ 493395 h 1156386"/>
                  <a:gd name="connsiteX16" fmla="*/ 80787 w 1143255"/>
                  <a:gd name="connsiteY16" fmla="*/ 552635 h 1156386"/>
                  <a:gd name="connsiteX17" fmla="*/ 157999 w 1143255"/>
                  <a:gd name="connsiteY17" fmla="*/ 711799 h 1156386"/>
                  <a:gd name="connsiteX18" fmla="*/ 169438 w 1143255"/>
                  <a:gd name="connsiteY18" fmla="*/ 858829 h 1156386"/>
                  <a:gd name="connsiteX19" fmla="*/ 169438 w 1143255"/>
                  <a:gd name="connsiteY19" fmla="*/ 860257 h 1156386"/>
                  <a:gd name="connsiteX20" fmla="*/ 187311 w 1143255"/>
                  <a:gd name="connsiteY20" fmla="*/ 997295 h 1156386"/>
                  <a:gd name="connsiteX21" fmla="*/ 183021 w 1143255"/>
                  <a:gd name="connsiteY21" fmla="*/ 999436 h 1156386"/>
                  <a:gd name="connsiteX22" fmla="*/ 0 w 1143255"/>
                  <a:gd name="connsiteY22" fmla="*/ 578330 h 1156386"/>
                  <a:gd name="connsiteX23" fmla="*/ 5719 w 1143255"/>
                  <a:gd name="connsiteY23" fmla="*/ 495536 h 1156386"/>
                  <a:gd name="connsiteX24" fmla="*/ 8579 w 1143255"/>
                  <a:gd name="connsiteY24" fmla="*/ 493395 h 1156386"/>
                  <a:gd name="connsiteX25" fmla="*/ 296585 w 1143255"/>
                  <a:gd name="connsiteY25" fmla="*/ 74456 h 1156386"/>
                  <a:gd name="connsiteX26" fmla="*/ 300159 w 1143255"/>
                  <a:gd name="connsiteY26" fmla="*/ 76598 h 1156386"/>
                  <a:gd name="connsiteX27" fmla="*/ 317319 w 1143255"/>
                  <a:gd name="connsiteY27" fmla="*/ 160812 h 1156386"/>
                  <a:gd name="connsiteX28" fmla="*/ 272990 w 1143255"/>
                  <a:gd name="connsiteY28" fmla="*/ 302121 h 1156386"/>
                  <a:gd name="connsiteX29" fmla="*/ 137859 w 1143255"/>
                  <a:gd name="connsiteY29" fmla="*/ 373489 h 1156386"/>
                  <a:gd name="connsiteX30" fmla="*/ 32043 w 1143255"/>
                  <a:gd name="connsiteY30" fmla="*/ 397754 h 1156386"/>
                  <a:gd name="connsiteX31" fmla="*/ 30613 w 1143255"/>
                  <a:gd name="connsiteY31" fmla="*/ 394899 h 1156386"/>
                  <a:gd name="connsiteX32" fmla="*/ 33473 w 1143255"/>
                  <a:gd name="connsiteY32" fmla="*/ 384908 h 1156386"/>
                  <a:gd name="connsiteX33" fmla="*/ 296585 w 1143255"/>
                  <a:gd name="connsiteY33" fmla="*/ 74456 h 1156386"/>
                  <a:gd name="connsiteX34" fmla="*/ 579383 w 1143255"/>
                  <a:gd name="connsiteY34" fmla="*/ 0 h 1156386"/>
                  <a:gd name="connsiteX35" fmla="*/ 1057972 w 1143255"/>
                  <a:gd name="connsiteY35" fmla="*/ 252720 h 1156386"/>
                  <a:gd name="connsiteX36" fmla="*/ 1142975 w 1143255"/>
                  <a:gd name="connsiteY36" fmla="*/ 442616 h 1156386"/>
                  <a:gd name="connsiteX37" fmla="*/ 1142975 w 1143255"/>
                  <a:gd name="connsiteY37" fmla="*/ 444758 h 1156386"/>
                  <a:gd name="connsiteX38" fmla="*/ 1141546 w 1143255"/>
                  <a:gd name="connsiteY38" fmla="*/ 447614 h 1156386"/>
                  <a:gd name="connsiteX39" fmla="*/ 1087259 w 1143255"/>
                  <a:gd name="connsiteY39" fmla="*/ 518289 h 1156386"/>
                  <a:gd name="connsiteX40" fmla="*/ 1031542 w 1143255"/>
                  <a:gd name="connsiteY40" fmla="*/ 518289 h 1156386"/>
                  <a:gd name="connsiteX41" fmla="*/ 967969 w 1143255"/>
                  <a:gd name="connsiteY41" fmla="*/ 471172 h 1156386"/>
                  <a:gd name="connsiteX42" fmla="*/ 966540 w 1143255"/>
                  <a:gd name="connsiteY42" fmla="*/ 475456 h 1156386"/>
                  <a:gd name="connsiteX43" fmla="*/ 918681 w 1143255"/>
                  <a:gd name="connsiteY43" fmla="*/ 578971 h 1156386"/>
                  <a:gd name="connsiteX44" fmla="*/ 840821 w 1143255"/>
                  <a:gd name="connsiteY44" fmla="*/ 562551 h 1156386"/>
                  <a:gd name="connsiteX45" fmla="*/ 836535 w 1143255"/>
                  <a:gd name="connsiteY45" fmla="*/ 565407 h 1156386"/>
                  <a:gd name="connsiteX46" fmla="*/ 922253 w 1143255"/>
                  <a:gd name="connsiteY46" fmla="*/ 637510 h 1156386"/>
                  <a:gd name="connsiteX47" fmla="*/ 926539 w 1143255"/>
                  <a:gd name="connsiteY47" fmla="*/ 638224 h 1156386"/>
                  <a:gd name="connsiteX48" fmla="*/ 854393 w 1143255"/>
                  <a:gd name="connsiteY48" fmla="*/ 753161 h 1156386"/>
                  <a:gd name="connsiteX49" fmla="*/ 827964 w 1143255"/>
                  <a:gd name="connsiteY49" fmla="*/ 883805 h 1156386"/>
                  <a:gd name="connsiteX50" fmla="*/ 715102 w 1143255"/>
                  <a:gd name="connsiteY50" fmla="*/ 1014448 h 1156386"/>
                  <a:gd name="connsiteX51" fmla="*/ 600098 w 1143255"/>
                  <a:gd name="connsiteY51" fmla="*/ 910219 h 1156386"/>
                  <a:gd name="connsiteX52" fmla="*/ 579383 w 1143255"/>
                  <a:gd name="connsiteY52" fmla="*/ 841685 h 1156386"/>
                  <a:gd name="connsiteX53" fmla="*/ 560811 w 1143255"/>
                  <a:gd name="connsiteY53" fmla="*/ 731031 h 1156386"/>
                  <a:gd name="connsiteX54" fmla="*/ 557954 w 1143255"/>
                  <a:gd name="connsiteY54" fmla="*/ 728889 h 1156386"/>
                  <a:gd name="connsiteX55" fmla="*/ 339374 w 1143255"/>
                  <a:gd name="connsiteY55" fmla="*/ 532567 h 1156386"/>
                  <a:gd name="connsiteX56" fmla="*/ 457950 w 1143255"/>
                  <a:gd name="connsiteY56" fmla="*/ 416202 h 1156386"/>
                  <a:gd name="connsiteX57" fmla="*/ 457950 w 1143255"/>
                  <a:gd name="connsiteY57" fmla="*/ 411919 h 1156386"/>
                  <a:gd name="connsiteX58" fmla="*/ 445807 w 1143255"/>
                  <a:gd name="connsiteY58" fmla="*/ 375510 h 1156386"/>
                  <a:gd name="connsiteX59" fmla="*/ 563668 w 1143255"/>
                  <a:gd name="connsiteY59" fmla="*/ 276278 h 1156386"/>
                  <a:gd name="connsiteX60" fmla="*/ 565097 w 1143255"/>
                  <a:gd name="connsiteY60" fmla="*/ 274850 h 1156386"/>
                  <a:gd name="connsiteX61" fmla="*/ 593669 w 1143255"/>
                  <a:gd name="connsiteY61" fmla="*/ 200605 h 1156386"/>
                  <a:gd name="connsiteX62" fmla="*/ 682244 w 1143255"/>
                  <a:gd name="connsiteY62" fmla="*/ 139210 h 1156386"/>
                  <a:gd name="connsiteX63" fmla="*/ 533667 w 1143255"/>
                  <a:gd name="connsiteY63" fmla="*/ 156344 h 1156386"/>
                  <a:gd name="connsiteX64" fmla="*/ 398662 w 1143255"/>
                  <a:gd name="connsiteY64" fmla="*/ 169908 h 1156386"/>
                  <a:gd name="connsiteX65" fmla="*/ 493666 w 1143255"/>
                  <a:gd name="connsiteY65" fmla="*/ 89951 h 1156386"/>
                  <a:gd name="connsiteX66" fmla="*/ 495094 w 1143255"/>
                  <a:gd name="connsiteY66" fmla="*/ 9281 h 1156386"/>
                  <a:gd name="connsiteX67" fmla="*/ 496523 w 1143255"/>
                  <a:gd name="connsiteY67" fmla="*/ 5711 h 1156386"/>
                  <a:gd name="connsiteX68" fmla="*/ 579383 w 1143255"/>
                  <a:gd name="connsiteY68" fmla="*/ 0 h 1156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1143255" h="1156386">
                    <a:moveTo>
                      <a:pt x="533702" y="1074544"/>
                    </a:moveTo>
                    <a:cubicBezTo>
                      <a:pt x="599458" y="1078814"/>
                      <a:pt x="639484" y="1075967"/>
                      <a:pt x="678794" y="1144999"/>
                    </a:cubicBezTo>
                    <a:cubicBezTo>
                      <a:pt x="679509" y="1146423"/>
                      <a:pt x="678080" y="1148558"/>
                      <a:pt x="676650" y="1148558"/>
                    </a:cubicBezTo>
                    <a:cubicBezTo>
                      <a:pt x="645202" y="1153539"/>
                      <a:pt x="612323" y="1156386"/>
                      <a:pt x="579445" y="1156386"/>
                    </a:cubicBezTo>
                    <a:cubicBezTo>
                      <a:pt x="539419" y="1156386"/>
                      <a:pt x="500109" y="1152828"/>
                      <a:pt x="462942" y="1144999"/>
                    </a:cubicBezTo>
                    <a:cubicBezTo>
                      <a:pt x="430778" y="1137171"/>
                      <a:pt x="407192" y="1130054"/>
                      <a:pt x="401474" y="1128631"/>
                    </a:cubicBezTo>
                    <a:cubicBezTo>
                      <a:pt x="401474" y="1128631"/>
                      <a:pt x="400759" y="1128631"/>
                      <a:pt x="400759" y="1128631"/>
                    </a:cubicBezTo>
                    <a:cubicBezTo>
                      <a:pt x="401474" y="1127919"/>
                      <a:pt x="467945" y="1070985"/>
                      <a:pt x="533702" y="1074544"/>
                    </a:cubicBezTo>
                    <a:close/>
                    <a:moveTo>
                      <a:pt x="900936" y="803314"/>
                    </a:moveTo>
                    <a:cubicBezTo>
                      <a:pt x="900936" y="803314"/>
                      <a:pt x="901650" y="803314"/>
                      <a:pt x="901650" y="803314"/>
                    </a:cubicBezTo>
                    <a:cubicBezTo>
                      <a:pt x="961580" y="813294"/>
                      <a:pt x="945171" y="853212"/>
                      <a:pt x="916632" y="897408"/>
                    </a:cubicBezTo>
                    <a:cubicBezTo>
                      <a:pt x="892375" y="935188"/>
                      <a:pt x="863837" y="926634"/>
                      <a:pt x="856702" y="923070"/>
                    </a:cubicBezTo>
                    <a:cubicBezTo>
                      <a:pt x="855275" y="922357"/>
                      <a:pt x="855275" y="921644"/>
                      <a:pt x="855275" y="920219"/>
                    </a:cubicBezTo>
                    <a:cubicBezTo>
                      <a:pt x="857416" y="910952"/>
                      <a:pt x="865977" y="868895"/>
                      <a:pt x="865977" y="839669"/>
                    </a:cubicBezTo>
                    <a:cubicBezTo>
                      <a:pt x="865977" y="809017"/>
                      <a:pt x="896656" y="803314"/>
                      <a:pt x="900936" y="803314"/>
                    </a:cubicBezTo>
                    <a:close/>
                    <a:moveTo>
                      <a:pt x="8579" y="493395"/>
                    </a:moveTo>
                    <a:cubicBezTo>
                      <a:pt x="27167" y="495536"/>
                      <a:pt x="68633" y="506242"/>
                      <a:pt x="80787" y="552635"/>
                    </a:cubicBezTo>
                    <a:cubicBezTo>
                      <a:pt x="95800" y="611876"/>
                      <a:pt x="117963" y="687532"/>
                      <a:pt x="157999" y="711799"/>
                    </a:cubicBezTo>
                    <a:cubicBezTo>
                      <a:pt x="196605" y="734639"/>
                      <a:pt x="170867" y="850978"/>
                      <a:pt x="169438" y="858829"/>
                    </a:cubicBezTo>
                    <a:cubicBezTo>
                      <a:pt x="168723" y="859543"/>
                      <a:pt x="168723" y="859543"/>
                      <a:pt x="169438" y="860257"/>
                    </a:cubicBezTo>
                    <a:cubicBezTo>
                      <a:pt x="169438" y="860257"/>
                      <a:pt x="169438" y="860257"/>
                      <a:pt x="187311" y="997295"/>
                    </a:cubicBezTo>
                    <a:cubicBezTo>
                      <a:pt x="187311" y="999436"/>
                      <a:pt x="184451" y="1001577"/>
                      <a:pt x="183021" y="999436"/>
                    </a:cubicBezTo>
                    <a:cubicBezTo>
                      <a:pt x="70063" y="893803"/>
                      <a:pt x="0" y="744631"/>
                      <a:pt x="0" y="578330"/>
                    </a:cubicBezTo>
                    <a:cubicBezTo>
                      <a:pt x="0" y="550494"/>
                      <a:pt x="2145" y="522658"/>
                      <a:pt x="5719" y="495536"/>
                    </a:cubicBezTo>
                    <a:cubicBezTo>
                      <a:pt x="5719" y="494109"/>
                      <a:pt x="7149" y="493395"/>
                      <a:pt x="8579" y="493395"/>
                    </a:cubicBezTo>
                    <a:close/>
                    <a:moveTo>
                      <a:pt x="296585" y="74456"/>
                    </a:moveTo>
                    <a:cubicBezTo>
                      <a:pt x="298015" y="73029"/>
                      <a:pt x="300159" y="74456"/>
                      <a:pt x="300159" y="76598"/>
                    </a:cubicBezTo>
                    <a:cubicBezTo>
                      <a:pt x="300159" y="88730"/>
                      <a:pt x="300874" y="126555"/>
                      <a:pt x="317319" y="160812"/>
                    </a:cubicBezTo>
                    <a:cubicBezTo>
                      <a:pt x="337338" y="202919"/>
                      <a:pt x="325899" y="297125"/>
                      <a:pt x="272990" y="302121"/>
                    </a:cubicBezTo>
                    <a:cubicBezTo>
                      <a:pt x="220082" y="307117"/>
                      <a:pt x="153589" y="331382"/>
                      <a:pt x="137859" y="373489"/>
                    </a:cubicBezTo>
                    <a:cubicBezTo>
                      <a:pt x="124275" y="411314"/>
                      <a:pt x="47772" y="400609"/>
                      <a:pt x="32043" y="397754"/>
                    </a:cubicBezTo>
                    <a:cubicBezTo>
                      <a:pt x="30613" y="397754"/>
                      <a:pt x="29898" y="396327"/>
                      <a:pt x="30613" y="394899"/>
                    </a:cubicBezTo>
                    <a:cubicBezTo>
                      <a:pt x="30613" y="392758"/>
                      <a:pt x="32043" y="389190"/>
                      <a:pt x="33473" y="384908"/>
                    </a:cubicBezTo>
                    <a:cubicBezTo>
                      <a:pt x="80661" y="252163"/>
                      <a:pt x="175038" y="142256"/>
                      <a:pt x="296585" y="74456"/>
                    </a:cubicBezTo>
                    <a:close/>
                    <a:moveTo>
                      <a:pt x="579383" y="0"/>
                    </a:moveTo>
                    <a:cubicBezTo>
                      <a:pt x="777962" y="0"/>
                      <a:pt x="953682" y="99946"/>
                      <a:pt x="1057972" y="252720"/>
                    </a:cubicBezTo>
                    <a:cubicBezTo>
                      <a:pt x="1115117" y="341957"/>
                      <a:pt x="1137975" y="424769"/>
                      <a:pt x="1142975" y="442616"/>
                    </a:cubicBezTo>
                    <a:cubicBezTo>
                      <a:pt x="1142975" y="443330"/>
                      <a:pt x="1142975" y="444044"/>
                      <a:pt x="1142975" y="444758"/>
                    </a:cubicBezTo>
                    <a:cubicBezTo>
                      <a:pt x="1143689" y="445472"/>
                      <a:pt x="1142975" y="446900"/>
                      <a:pt x="1141546" y="447614"/>
                    </a:cubicBezTo>
                    <a:cubicBezTo>
                      <a:pt x="1133689" y="451897"/>
                      <a:pt x="1098688" y="474028"/>
                      <a:pt x="1087259" y="518289"/>
                    </a:cubicBezTo>
                    <a:cubicBezTo>
                      <a:pt x="1073687" y="567548"/>
                      <a:pt x="1047257" y="561123"/>
                      <a:pt x="1031542" y="518289"/>
                    </a:cubicBezTo>
                    <a:cubicBezTo>
                      <a:pt x="1020828" y="488306"/>
                      <a:pt x="987255" y="475456"/>
                      <a:pt x="967969" y="471172"/>
                    </a:cubicBezTo>
                    <a:cubicBezTo>
                      <a:pt x="965826" y="470458"/>
                      <a:pt x="963683" y="474028"/>
                      <a:pt x="966540" y="475456"/>
                    </a:cubicBezTo>
                    <a:cubicBezTo>
                      <a:pt x="1004398" y="503297"/>
                      <a:pt x="963683" y="540420"/>
                      <a:pt x="918681" y="578971"/>
                    </a:cubicBezTo>
                    <a:cubicBezTo>
                      <a:pt x="885108" y="607526"/>
                      <a:pt x="855822" y="581826"/>
                      <a:pt x="840821" y="562551"/>
                    </a:cubicBezTo>
                    <a:cubicBezTo>
                      <a:pt x="839393" y="560409"/>
                      <a:pt x="835821" y="562551"/>
                      <a:pt x="836535" y="565407"/>
                    </a:cubicBezTo>
                    <a:cubicBezTo>
                      <a:pt x="875822" y="671063"/>
                      <a:pt x="912252" y="647505"/>
                      <a:pt x="922253" y="637510"/>
                    </a:cubicBezTo>
                    <a:cubicBezTo>
                      <a:pt x="923681" y="636082"/>
                      <a:pt x="926539" y="636796"/>
                      <a:pt x="926539" y="638224"/>
                    </a:cubicBezTo>
                    <a:cubicBezTo>
                      <a:pt x="939396" y="691052"/>
                      <a:pt x="876537" y="716753"/>
                      <a:pt x="854393" y="753161"/>
                    </a:cubicBezTo>
                    <a:cubicBezTo>
                      <a:pt x="832964" y="790284"/>
                      <a:pt x="828678" y="879521"/>
                      <a:pt x="827964" y="883805"/>
                    </a:cubicBezTo>
                    <a:cubicBezTo>
                      <a:pt x="827249" y="887374"/>
                      <a:pt x="814392" y="955908"/>
                      <a:pt x="715102" y="1014448"/>
                    </a:cubicBezTo>
                    <a:cubicBezTo>
                      <a:pt x="613670" y="1073701"/>
                      <a:pt x="602241" y="941630"/>
                      <a:pt x="600098" y="910219"/>
                    </a:cubicBezTo>
                    <a:cubicBezTo>
                      <a:pt x="597955" y="879521"/>
                      <a:pt x="597955" y="850965"/>
                      <a:pt x="579383" y="841685"/>
                    </a:cubicBezTo>
                    <a:cubicBezTo>
                      <a:pt x="562240" y="833832"/>
                      <a:pt x="560811" y="746736"/>
                      <a:pt x="560811" y="731031"/>
                    </a:cubicBezTo>
                    <a:cubicBezTo>
                      <a:pt x="560811" y="730317"/>
                      <a:pt x="559382" y="728889"/>
                      <a:pt x="557954" y="728889"/>
                    </a:cubicBezTo>
                    <a:cubicBezTo>
                      <a:pt x="292944" y="695336"/>
                      <a:pt x="352232" y="609668"/>
                      <a:pt x="339374" y="532567"/>
                    </a:cubicBezTo>
                    <a:cubicBezTo>
                      <a:pt x="328660" y="471172"/>
                      <a:pt x="419377" y="430480"/>
                      <a:pt x="457950" y="416202"/>
                    </a:cubicBezTo>
                    <a:cubicBezTo>
                      <a:pt x="460093" y="415488"/>
                      <a:pt x="460093" y="412633"/>
                      <a:pt x="457950" y="411919"/>
                    </a:cubicBezTo>
                    <a:cubicBezTo>
                      <a:pt x="452236" y="408349"/>
                      <a:pt x="446521" y="399069"/>
                      <a:pt x="445807" y="375510"/>
                    </a:cubicBezTo>
                    <a:cubicBezTo>
                      <a:pt x="443664" y="325537"/>
                      <a:pt x="551525" y="281276"/>
                      <a:pt x="563668" y="276278"/>
                    </a:cubicBezTo>
                    <a:cubicBezTo>
                      <a:pt x="564383" y="276278"/>
                      <a:pt x="565097" y="275564"/>
                      <a:pt x="565097" y="274850"/>
                    </a:cubicBezTo>
                    <a:cubicBezTo>
                      <a:pt x="567954" y="265570"/>
                      <a:pt x="587241" y="200605"/>
                      <a:pt x="593669" y="200605"/>
                    </a:cubicBezTo>
                    <a:cubicBezTo>
                      <a:pt x="600098" y="200605"/>
                      <a:pt x="700102" y="167766"/>
                      <a:pt x="682244" y="139210"/>
                    </a:cubicBezTo>
                    <a:cubicBezTo>
                      <a:pt x="664386" y="109940"/>
                      <a:pt x="582955" y="129929"/>
                      <a:pt x="533667" y="156344"/>
                    </a:cubicBezTo>
                    <a:cubicBezTo>
                      <a:pt x="485094" y="182758"/>
                      <a:pt x="412234" y="204889"/>
                      <a:pt x="398662" y="169908"/>
                    </a:cubicBezTo>
                    <a:cubicBezTo>
                      <a:pt x="385805" y="134213"/>
                      <a:pt x="462950" y="105657"/>
                      <a:pt x="493666" y="89951"/>
                    </a:cubicBezTo>
                    <a:cubicBezTo>
                      <a:pt x="520095" y="76387"/>
                      <a:pt x="500095" y="22845"/>
                      <a:pt x="495094" y="9281"/>
                    </a:cubicBezTo>
                    <a:cubicBezTo>
                      <a:pt x="494380" y="7853"/>
                      <a:pt x="495094" y="6425"/>
                      <a:pt x="496523" y="5711"/>
                    </a:cubicBezTo>
                    <a:cubicBezTo>
                      <a:pt x="523667" y="2142"/>
                      <a:pt x="551525" y="0"/>
                      <a:pt x="579383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>
                  <a:sym typeface="Trebuchet MS" panose="020B0603020202020204" pitchFamily="34" charset="0"/>
                </a:endParaRPr>
              </a:p>
            </p:txBody>
          </p:sp>
        </p:grp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150EC50A-F00C-4B63-A659-FCD3EEF96264}"/>
              </a:ext>
            </a:extLst>
          </p:cNvPr>
          <p:cNvSpPr/>
          <p:nvPr/>
        </p:nvSpPr>
        <p:spPr>
          <a:xfrm>
            <a:off x="1294959" y="2443030"/>
            <a:ext cx="1033986" cy="369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200" b="1" dirty="0">
                <a:solidFill>
                  <a:srgbClr val="575757"/>
                </a:solidFill>
                <a:sym typeface="Trebuchet MS" panose="020B0603020202020204" pitchFamily="34" charset="0"/>
              </a:rPr>
              <a:t>Earthmoving</a:t>
            </a:r>
          </a:p>
          <a:p>
            <a:r>
              <a:rPr lang="en-US" sz="1200" b="1" dirty="0">
                <a:solidFill>
                  <a:srgbClr val="575757"/>
                </a:solidFill>
                <a:sym typeface="Trebuchet MS" panose="020B0603020202020204" pitchFamily="34" charset="0"/>
              </a:rPr>
              <a:t>equipment</a:t>
            </a:r>
          </a:p>
        </p:txBody>
      </p:sp>
      <p:grpSp>
        <p:nvGrpSpPr>
          <p:cNvPr id="23" name="bcgIcons_Steel">
            <a:extLst>
              <a:ext uri="{FF2B5EF4-FFF2-40B4-BE49-F238E27FC236}">
                <a16:creationId xmlns:a16="http://schemas.microsoft.com/office/drawing/2014/main" id="{313F7012-DDF7-494D-828F-455E77FA23E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30000" y="2982780"/>
            <a:ext cx="475955" cy="476250"/>
            <a:chOff x="1682" y="0"/>
            <a:chExt cx="4316" cy="4320"/>
          </a:xfrm>
        </p:grpSpPr>
        <p:sp>
          <p:nvSpPr>
            <p:cNvPr id="24" name="AutoShape 13">
              <a:extLst>
                <a:ext uri="{FF2B5EF4-FFF2-40B4-BE49-F238E27FC236}">
                  <a16:creationId xmlns:a16="http://schemas.microsoft.com/office/drawing/2014/main" id="{3858B282-9320-4556-B9B3-07E8D2E38CD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ym typeface="Trebuchet MS" panose="020B0603020202020204" pitchFamily="34" charset="0"/>
              </a:endParaRPr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AEBD75BD-022C-4C8E-8FA8-5CE4979819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6" y="724"/>
              <a:ext cx="2784" cy="2439"/>
            </a:xfrm>
            <a:custGeom>
              <a:avLst/>
              <a:gdLst>
                <a:gd name="T0" fmla="*/ 848 w 1486"/>
                <a:gd name="T1" fmla="*/ 274 h 1301"/>
                <a:gd name="T2" fmla="*/ 638 w 1486"/>
                <a:gd name="T3" fmla="*/ 274 h 1301"/>
                <a:gd name="T4" fmla="*/ 615 w 1486"/>
                <a:gd name="T5" fmla="*/ 251 h 1301"/>
                <a:gd name="T6" fmla="*/ 573 w 1486"/>
                <a:gd name="T7" fmla="*/ 0 h 1301"/>
                <a:gd name="T8" fmla="*/ 913 w 1486"/>
                <a:gd name="T9" fmla="*/ 0 h 1301"/>
                <a:gd name="T10" fmla="*/ 871 w 1486"/>
                <a:gd name="T11" fmla="*/ 251 h 1301"/>
                <a:gd name="T12" fmla="*/ 848 w 1486"/>
                <a:gd name="T13" fmla="*/ 274 h 1301"/>
                <a:gd name="T14" fmla="*/ 1486 w 1486"/>
                <a:gd name="T15" fmla="*/ 1301 h 1301"/>
                <a:gd name="T16" fmla="*/ 1486 w 1486"/>
                <a:gd name="T17" fmla="*/ 861 h 1301"/>
                <a:gd name="T18" fmla="*/ 0 w 1486"/>
                <a:gd name="T19" fmla="*/ 861 h 1301"/>
                <a:gd name="T20" fmla="*/ 0 w 1486"/>
                <a:gd name="T21" fmla="*/ 1301 h 1301"/>
                <a:gd name="T22" fmla="*/ 1486 w 1486"/>
                <a:gd name="T23" fmla="*/ 1301 h 1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86" h="1301">
                  <a:moveTo>
                    <a:pt x="848" y="274"/>
                  </a:moveTo>
                  <a:cubicBezTo>
                    <a:pt x="638" y="274"/>
                    <a:pt x="638" y="274"/>
                    <a:pt x="638" y="274"/>
                  </a:cubicBezTo>
                  <a:cubicBezTo>
                    <a:pt x="625" y="274"/>
                    <a:pt x="615" y="264"/>
                    <a:pt x="615" y="251"/>
                  </a:cubicBezTo>
                  <a:cubicBezTo>
                    <a:pt x="573" y="0"/>
                    <a:pt x="573" y="0"/>
                    <a:pt x="573" y="0"/>
                  </a:cubicBezTo>
                  <a:cubicBezTo>
                    <a:pt x="913" y="0"/>
                    <a:pt x="913" y="0"/>
                    <a:pt x="913" y="0"/>
                  </a:cubicBezTo>
                  <a:cubicBezTo>
                    <a:pt x="871" y="251"/>
                    <a:pt x="871" y="251"/>
                    <a:pt x="871" y="251"/>
                  </a:cubicBezTo>
                  <a:cubicBezTo>
                    <a:pt x="871" y="264"/>
                    <a:pt x="861" y="274"/>
                    <a:pt x="848" y="274"/>
                  </a:cubicBezTo>
                  <a:close/>
                  <a:moveTo>
                    <a:pt x="1486" y="1301"/>
                  </a:moveTo>
                  <a:cubicBezTo>
                    <a:pt x="1486" y="861"/>
                    <a:pt x="1486" y="861"/>
                    <a:pt x="1486" y="861"/>
                  </a:cubicBezTo>
                  <a:cubicBezTo>
                    <a:pt x="0" y="861"/>
                    <a:pt x="0" y="861"/>
                    <a:pt x="0" y="861"/>
                  </a:cubicBezTo>
                  <a:cubicBezTo>
                    <a:pt x="0" y="1301"/>
                    <a:pt x="0" y="1301"/>
                    <a:pt x="0" y="1301"/>
                  </a:cubicBezTo>
                  <a:lnTo>
                    <a:pt x="1486" y="1301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ym typeface="Trebuchet MS" panose="020B0603020202020204" pitchFamily="34" charset="0"/>
              </a:endParaRPr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BD40F284-F7AE-42FB-BB02-0ABF9CC649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68" y="1326"/>
              <a:ext cx="3540" cy="2126"/>
            </a:xfrm>
            <a:custGeom>
              <a:avLst/>
              <a:gdLst>
                <a:gd name="T0" fmla="*/ 941 w 1890"/>
                <a:gd name="T1" fmla="*/ 229 h 1134"/>
                <a:gd name="T2" fmla="*/ 870 w 1890"/>
                <a:gd name="T3" fmla="*/ 150 h 1134"/>
                <a:gd name="T4" fmla="*/ 941 w 1890"/>
                <a:gd name="T5" fmla="*/ 185 h 1134"/>
                <a:gd name="T6" fmla="*/ 941 w 1890"/>
                <a:gd name="T7" fmla="*/ 92 h 1134"/>
                <a:gd name="T8" fmla="*/ 919 w 1890"/>
                <a:gd name="T9" fmla="*/ 0 h 1134"/>
                <a:gd name="T10" fmla="*/ 963 w 1890"/>
                <a:gd name="T11" fmla="*/ 51 h 1134"/>
                <a:gd name="T12" fmla="*/ 1890 w 1890"/>
                <a:gd name="T13" fmla="*/ 460 h 1134"/>
                <a:gd name="T14" fmla="*/ 1816 w 1890"/>
                <a:gd name="T15" fmla="*/ 1134 h 1134"/>
                <a:gd name="T16" fmla="*/ 1737 w 1890"/>
                <a:gd name="T17" fmla="*/ 1072 h 1134"/>
                <a:gd name="T18" fmla="*/ 80 w 1890"/>
                <a:gd name="T19" fmla="*/ 1134 h 1134"/>
                <a:gd name="T20" fmla="*/ 0 w 1890"/>
                <a:gd name="T21" fmla="*/ 1060 h 1134"/>
                <a:gd name="T22" fmla="*/ 74 w 1890"/>
                <a:gd name="T23" fmla="*/ 386 h 1134"/>
                <a:gd name="T24" fmla="*/ 153 w 1890"/>
                <a:gd name="T25" fmla="*/ 448 h 1134"/>
                <a:gd name="T26" fmla="*/ 607 w 1890"/>
                <a:gd name="T27" fmla="*/ 446 h 1134"/>
                <a:gd name="T28" fmla="*/ 863 w 1890"/>
                <a:gd name="T29" fmla="*/ 252 h 1134"/>
                <a:gd name="T30" fmla="*/ 1223 w 1890"/>
                <a:gd name="T31" fmla="*/ 448 h 1134"/>
                <a:gd name="T32" fmla="*/ 1055 w 1890"/>
                <a:gd name="T33" fmla="*/ 217 h 1134"/>
                <a:gd name="T34" fmla="*/ 1285 w 1890"/>
                <a:gd name="T35" fmla="*/ 448 h 1134"/>
                <a:gd name="T36" fmla="*/ 1810 w 1890"/>
                <a:gd name="T37" fmla="*/ 386 h 1134"/>
                <a:gd name="T38" fmla="*/ 1890 w 1890"/>
                <a:gd name="T39" fmla="*/ 460 h 1134"/>
                <a:gd name="T40" fmla="*/ 80 w 1890"/>
                <a:gd name="T41" fmla="*/ 430 h 1134"/>
                <a:gd name="T42" fmla="*/ 44 w 1890"/>
                <a:gd name="T43" fmla="*/ 460 h 1134"/>
                <a:gd name="T44" fmla="*/ 74 w 1890"/>
                <a:gd name="T45" fmla="*/ 1090 h 1134"/>
                <a:gd name="T46" fmla="*/ 110 w 1890"/>
                <a:gd name="T47" fmla="*/ 1060 h 1134"/>
                <a:gd name="T48" fmla="*/ 110 w 1890"/>
                <a:gd name="T49" fmla="*/ 470 h 1134"/>
                <a:gd name="T50" fmla="*/ 1736 w 1890"/>
                <a:gd name="T51" fmla="*/ 492 h 1134"/>
                <a:gd name="T52" fmla="*/ 154 w 1890"/>
                <a:gd name="T53" fmla="*/ 1028 h 1134"/>
                <a:gd name="T54" fmla="*/ 1736 w 1890"/>
                <a:gd name="T55" fmla="*/ 492 h 1134"/>
                <a:gd name="T56" fmla="*/ 1816 w 1890"/>
                <a:gd name="T57" fmla="*/ 430 h 1134"/>
                <a:gd name="T58" fmla="*/ 1780 w 1890"/>
                <a:gd name="T59" fmla="*/ 460 h 1134"/>
                <a:gd name="T60" fmla="*/ 1780 w 1890"/>
                <a:gd name="T61" fmla="*/ 1050 h 1134"/>
                <a:gd name="T62" fmla="*/ 1810 w 1890"/>
                <a:gd name="T63" fmla="*/ 1090 h 1134"/>
                <a:gd name="T64" fmla="*/ 1846 w 1890"/>
                <a:gd name="T65" fmla="*/ 106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890" h="1134">
                  <a:moveTo>
                    <a:pt x="1031" y="138"/>
                  </a:moveTo>
                  <a:cubicBezTo>
                    <a:pt x="1031" y="188"/>
                    <a:pt x="991" y="229"/>
                    <a:pt x="941" y="229"/>
                  </a:cubicBezTo>
                  <a:cubicBezTo>
                    <a:pt x="907" y="229"/>
                    <a:pt x="877" y="210"/>
                    <a:pt x="861" y="180"/>
                  </a:cubicBezTo>
                  <a:cubicBezTo>
                    <a:pt x="855" y="169"/>
                    <a:pt x="860" y="156"/>
                    <a:pt x="870" y="150"/>
                  </a:cubicBezTo>
                  <a:cubicBezTo>
                    <a:pt x="881" y="145"/>
                    <a:pt x="894" y="149"/>
                    <a:pt x="900" y="160"/>
                  </a:cubicBezTo>
                  <a:cubicBezTo>
                    <a:pt x="908" y="175"/>
                    <a:pt x="924" y="185"/>
                    <a:pt x="941" y="185"/>
                  </a:cubicBezTo>
                  <a:cubicBezTo>
                    <a:pt x="967" y="185"/>
                    <a:pt x="987" y="164"/>
                    <a:pt x="987" y="138"/>
                  </a:cubicBezTo>
                  <a:cubicBezTo>
                    <a:pt x="987" y="113"/>
                    <a:pt x="967" y="92"/>
                    <a:pt x="941" y="92"/>
                  </a:cubicBezTo>
                  <a:cubicBezTo>
                    <a:pt x="929" y="92"/>
                    <a:pt x="919" y="82"/>
                    <a:pt x="919" y="70"/>
                  </a:cubicBezTo>
                  <a:cubicBezTo>
                    <a:pt x="919" y="0"/>
                    <a:pt x="919" y="0"/>
                    <a:pt x="919" y="0"/>
                  </a:cubicBezTo>
                  <a:cubicBezTo>
                    <a:pt x="963" y="0"/>
                    <a:pt x="963" y="0"/>
                    <a:pt x="963" y="0"/>
                  </a:cubicBezTo>
                  <a:cubicBezTo>
                    <a:pt x="963" y="51"/>
                    <a:pt x="963" y="51"/>
                    <a:pt x="963" y="51"/>
                  </a:cubicBezTo>
                  <a:cubicBezTo>
                    <a:pt x="1002" y="61"/>
                    <a:pt x="1031" y="96"/>
                    <a:pt x="1031" y="138"/>
                  </a:cubicBezTo>
                  <a:close/>
                  <a:moveTo>
                    <a:pt x="1890" y="460"/>
                  </a:moveTo>
                  <a:cubicBezTo>
                    <a:pt x="1890" y="1060"/>
                    <a:pt x="1890" y="1060"/>
                    <a:pt x="1890" y="1060"/>
                  </a:cubicBezTo>
                  <a:cubicBezTo>
                    <a:pt x="1890" y="1101"/>
                    <a:pt x="1857" y="1134"/>
                    <a:pt x="1816" y="1134"/>
                  </a:cubicBezTo>
                  <a:cubicBezTo>
                    <a:pt x="1810" y="1134"/>
                    <a:pt x="1810" y="1134"/>
                    <a:pt x="1810" y="1134"/>
                  </a:cubicBezTo>
                  <a:cubicBezTo>
                    <a:pt x="1773" y="1134"/>
                    <a:pt x="1743" y="1107"/>
                    <a:pt x="1737" y="1072"/>
                  </a:cubicBezTo>
                  <a:cubicBezTo>
                    <a:pt x="153" y="1072"/>
                    <a:pt x="153" y="1072"/>
                    <a:pt x="153" y="1072"/>
                  </a:cubicBezTo>
                  <a:cubicBezTo>
                    <a:pt x="147" y="1107"/>
                    <a:pt x="117" y="1134"/>
                    <a:pt x="80" y="1134"/>
                  </a:cubicBezTo>
                  <a:cubicBezTo>
                    <a:pt x="74" y="1134"/>
                    <a:pt x="74" y="1134"/>
                    <a:pt x="74" y="1134"/>
                  </a:cubicBezTo>
                  <a:cubicBezTo>
                    <a:pt x="33" y="1134"/>
                    <a:pt x="0" y="1101"/>
                    <a:pt x="0" y="1060"/>
                  </a:cubicBezTo>
                  <a:cubicBezTo>
                    <a:pt x="0" y="460"/>
                    <a:pt x="0" y="460"/>
                    <a:pt x="0" y="460"/>
                  </a:cubicBezTo>
                  <a:cubicBezTo>
                    <a:pt x="0" y="419"/>
                    <a:pt x="33" y="386"/>
                    <a:pt x="74" y="386"/>
                  </a:cubicBezTo>
                  <a:cubicBezTo>
                    <a:pt x="80" y="386"/>
                    <a:pt x="80" y="386"/>
                    <a:pt x="80" y="386"/>
                  </a:cubicBezTo>
                  <a:cubicBezTo>
                    <a:pt x="117" y="386"/>
                    <a:pt x="147" y="413"/>
                    <a:pt x="153" y="448"/>
                  </a:cubicBezTo>
                  <a:cubicBezTo>
                    <a:pt x="605" y="448"/>
                    <a:pt x="605" y="448"/>
                    <a:pt x="605" y="448"/>
                  </a:cubicBezTo>
                  <a:cubicBezTo>
                    <a:pt x="605" y="447"/>
                    <a:pt x="606" y="446"/>
                    <a:pt x="607" y="446"/>
                  </a:cubicBezTo>
                  <a:cubicBezTo>
                    <a:pt x="831" y="221"/>
                    <a:pt x="831" y="221"/>
                    <a:pt x="831" y="221"/>
                  </a:cubicBezTo>
                  <a:cubicBezTo>
                    <a:pt x="840" y="233"/>
                    <a:pt x="851" y="244"/>
                    <a:pt x="863" y="252"/>
                  </a:cubicBezTo>
                  <a:cubicBezTo>
                    <a:pt x="667" y="448"/>
                    <a:pt x="667" y="448"/>
                    <a:pt x="667" y="448"/>
                  </a:cubicBezTo>
                  <a:cubicBezTo>
                    <a:pt x="1223" y="448"/>
                    <a:pt x="1223" y="448"/>
                    <a:pt x="1223" y="448"/>
                  </a:cubicBezTo>
                  <a:cubicBezTo>
                    <a:pt x="1024" y="249"/>
                    <a:pt x="1024" y="249"/>
                    <a:pt x="1024" y="249"/>
                  </a:cubicBezTo>
                  <a:cubicBezTo>
                    <a:pt x="1036" y="240"/>
                    <a:pt x="1046" y="229"/>
                    <a:pt x="1055" y="217"/>
                  </a:cubicBezTo>
                  <a:cubicBezTo>
                    <a:pt x="1283" y="446"/>
                    <a:pt x="1283" y="446"/>
                    <a:pt x="1283" y="446"/>
                  </a:cubicBezTo>
                  <a:cubicBezTo>
                    <a:pt x="1284" y="446"/>
                    <a:pt x="1285" y="447"/>
                    <a:pt x="1285" y="448"/>
                  </a:cubicBezTo>
                  <a:cubicBezTo>
                    <a:pt x="1737" y="448"/>
                    <a:pt x="1737" y="448"/>
                    <a:pt x="1737" y="448"/>
                  </a:cubicBezTo>
                  <a:cubicBezTo>
                    <a:pt x="1743" y="413"/>
                    <a:pt x="1773" y="386"/>
                    <a:pt x="1810" y="386"/>
                  </a:cubicBezTo>
                  <a:cubicBezTo>
                    <a:pt x="1816" y="386"/>
                    <a:pt x="1816" y="386"/>
                    <a:pt x="1816" y="386"/>
                  </a:cubicBezTo>
                  <a:cubicBezTo>
                    <a:pt x="1857" y="386"/>
                    <a:pt x="1890" y="419"/>
                    <a:pt x="1890" y="460"/>
                  </a:cubicBezTo>
                  <a:close/>
                  <a:moveTo>
                    <a:pt x="110" y="460"/>
                  </a:moveTo>
                  <a:cubicBezTo>
                    <a:pt x="110" y="443"/>
                    <a:pt x="97" y="430"/>
                    <a:pt x="80" y="430"/>
                  </a:cubicBezTo>
                  <a:cubicBezTo>
                    <a:pt x="74" y="430"/>
                    <a:pt x="74" y="430"/>
                    <a:pt x="74" y="430"/>
                  </a:cubicBezTo>
                  <a:cubicBezTo>
                    <a:pt x="58" y="430"/>
                    <a:pt x="44" y="443"/>
                    <a:pt x="44" y="460"/>
                  </a:cubicBezTo>
                  <a:cubicBezTo>
                    <a:pt x="44" y="1060"/>
                    <a:pt x="44" y="1060"/>
                    <a:pt x="44" y="1060"/>
                  </a:cubicBezTo>
                  <a:cubicBezTo>
                    <a:pt x="44" y="1076"/>
                    <a:pt x="58" y="1090"/>
                    <a:pt x="74" y="1090"/>
                  </a:cubicBezTo>
                  <a:cubicBezTo>
                    <a:pt x="80" y="1090"/>
                    <a:pt x="80" y="1090"/>
                    <a:pt x="80" y="1090"/>
                  </a:cubicBezTo>
                  <a:cubicBezTo>
                    <a:pt x="97" y="1090"/>
                    <a:pt x="110" y="1076"/>
                    <a:pt x="110" y="1060"/>
                  </a:cubicBezTo>
                  <a:cubicBezTo>
                    <a:pt x="110" y="1050"/>
                    <a:pt x="110" y="1050"/>
                    <a:pt x="110" y="1050"/>
                  </a:cubicBezTo>
                  <a:cubicBezTo>
                    <a:pt x="110" y="470"/>
                    <a:pt x="110" y="470"/>
                    <a:pt x="110" y="470"/>
                  </a:cubicBezTo>
                  <a:lnTo>
                    <a:pt x="110" y="460"/>
                  </a:lnTo>
                  <a:close/>
                  <a:moveTo>
                    <a:pt x="1736" y="492"/>
                  </a:moveTo>
                  <a:cubicBezTo>
                    <a:pt x="154" y="492"/>
                    <a:pt x="154" y="492"/>
                    <a:pt x="154" y="492"/>
                  </a:cubicBezTo>
                  <a:cubicBezTo>
                    <a:pt x="154" y="1028"/>
                    <a:pt x="154" y="1028"/>
                    <a:pt x="154" y="1028"/>
                  </a:cubicBezTo>
                  <a:cubicBezTo>
                    <a:pt x="1736" y="1028"/>
                    <a:pt x="1736" y="1028"/>
                    <a:pt x="1736" y="1028"/>
                  </a:cubicBezTo>
                  <a:lnTo>
                    <a:pt x="1736" y="492"/>
                  </a:lnTo>
                  <a:close/>
                  <a:moveTo>
                    <a:pt x="1846" y="460"/>
                  </a:moveTo>
                  <a:cubicBezTo>
                    <a:pt x="1846" y="443"/>
                    <a:pt x="1832" y="430"/>
                    <a:pt x="1816" y="430"/>
                  </a:cubicBezTo>
                  <a:cubicBezTo>
                    <a:pt x="1810" y="430"/>
                    <a:pt x="1810" y="430"/>
                    <a:pt x="1810" y="430"/>
                  </a:cubicBezTo>
                  <a:cubicBezTo>
                    <a:pt x="1793" y="430"/>
                    <a:pt x="1780" y="443"/>
                    <a:pt x="1780" y="460"/>
                  </a:cubicBezTo>
                  <a:cubicBezTo>
                    <a:pt x="1780" y="470"/>
                    <a:pt x="1780" y="470"/>
                    <a:pt x="1780" y="470"/>
                  </a:cubicBezTo>
                  <a:cubicBezTo>
                    <a:pt x="1780" y="1050"/>
                    <a:pt x="1780" y="1050"/>
                    <a:pt x="1780" y="1050"/>
                  </a:cubicBezTo>
                  <a:cubicBezTo>
                    <a:pt x="1780" y="1060"/>
                    <a:pt x="1780" y="1060"/>
                    <a:pt x="1780" y="1060"/>
                  </a:cubicBezTo>
                  <a:cubicBezTo>
                    <a:pt x="1780" y="1076"/>
                    <a:pt x="1793" y="1090"/>
                    <a:pt x="1810" y="1090"/>
                  </a:cubicBezTo>
                  <a:cubicBezTo>
                    <a:pt x="1816" y="1090"/>
                    <a:pt x="1816" y="1090"/>
                    <a:pt x="1816" y="1090"/>
                  </a:cubicBezTo>
                  <a:cubicBezTo>
                    <a:pt x="1832" y="1090"/>
                    <a:pt x="1846" y="1076"/>
                    <a:pt x="1846" y="1060"/>
                  </a:cubicBezTo>
                  <a:lnTo>
                    <a:pt x="1846" y="4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ym typeface="Trebuchet MS" panose="020B0603020202020204" pitchFamily="34" charset="0"/>
              </a:endParaRPr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22E2858E-C684-4CB6-96C8-98F23B8D0582}"/>
              </a:ext>
            </a:extLst>
          </p:cNvPr>
          <p:cNvSpPr/>
          <p:nvPr/>
        </p:nvSpPr>
        <p:spPr>
          <a:xfrm>
            <a:off x="1294959" y="3036755"/>
            <a:ext cx="1033986" cy="369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200" b="1" dirty="0">
                <a:solidFill>
                  <a:srgbClr val="575757"/>
                </a:solidFill>
                <a:sym typeface="Trebuchet MS" panose="020B0603020202020204" pitchFamily="34" charset="0"/>
              </a:rPr>
              <a:t>Material</a:t>
            </a:r>
          </a:p>
          <a:p>
            <a:r>
              <a:rPr lang="en-US" sz="1200" b="1" dirty="0">
                <a:solidFill>
                  <a:srgbClr val="575757"/>
                </a:solidFill>
                <a:sym typeface="Trebuchet MS" panose="020B0603020202020204" pitchFamily="34" charset="0"/>
              </a:rPr>
              <a:t>handling</a:t>
            </a:r>
          </a:p>
        </p:txBody>
      </p:sp>
      <p:grpSp>
        <p:nvGrpSpPr>
          <p:cNvPr id="28" name="bcgIcons_StraightRoad">
            <a:extLst>
              <a:ext uri="{FF2B5EF4-FFF2-40B4-BE49-F238E27FC236}">
                <a16:creationId xmlns:a16="http://schemas.microsoft.com/office/drawing/2014/main" id="{EB8EDE3E-249A-4533-A058-AE9543E87C1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24156" y="4218424"/>
            <a:ext cx="475955" cy="476250"/>
            <a:chOff x="1682" y="0"/>
            <a:chExt cx="4316" cy="4320"/>
          </a:xfrm>
        </p:grpSpPr>
        <p:sp>
          <p:nvSpPr>
            <p:cNvPr id="29" name="AutoShape 8">
              <a:extLst>
                <a:ext uri="{FF2B5EF4-FFF2-40B4-BE49-F238E27FC236}">
                  <a16:creationId xmlns:a16="http://schemas.microsoft.com/office/drawing/2014/main" id="{766687BE-0093-45EA-B03C-2B10C7A0EEB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ym typeface="Trebuchet MS" panose="020B0603020202020204" pitchFamily="34" charset="0"/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29EDB701-FF99-4957-B4C8-8FC3BFEC1C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1" y="1044"/>
              <a:ext cx="3227" cy="2205"/>
            </a:xfrm>
            <a:custGeom>
              <a:avLst/>
              <a:gdLst>
                <a:gd name="T0" fmla="*/ 963 w 1723"/>
                <a:gd name="T1" fmla="*/ 0 h 1176"/>
                <a:gd name="T2" fmla="*/ 760 w 1723"/>
                <a:gd name="T3" fmla="*/ 0 h 1176"/>
                <a:gd name="T4" fmla="*/ 0 w 1723"/>
                <a:gd name="T5" fmla="*/ 1176 h 1176"/>
                <a:gd name="T6" fmla="*/ 1723 w 1723"/>
                <a:gd name="T7" fmla="*/ 1176 h 1176"/>
                <a:gd name="T8" fmla="*/ 963 w 1723"/>
                <a:gd name="T9" fmla="*/ 0 h 1176"/>
                <a:gd name="T10" fmla="*/ 883 w 1723"/>
                <a:gd name="T11" fmla="*/ 1054 h 1176"/>
                <a:gd name="T12" fmla="*/ 861 w 1723"/>
                <a:gd name="T13" fmla="*/ 1076 h 1176"/>
                <a:gd name="T14" fmla="*/ 839 w 1723"/>
                <a:gd name="T15" fmla="*/ 1054 h 1176"/>
                <a:gd name="T16" fmla="*/ 839 w 1723"/>
                <a:gd name="T17" fmla="*/ 727 h 1176"/>
                <a:gd name="T18" fmla="*/ 861 w 1723"/>
                <a:gd name="T19" fmla="*/ 705 h 1176"/>
                <a:gd name="T20" fmla="*/ 883 w 1723"/>
                <a:gd name="T21" fmla="*/ 727 h 1176"/>
                <a:gd name="T22" fmla="*/ 883 w 1723"/>
                <a:gd name="T23" fmla="*/ 1054 h 1176"/>
                <a:gd name="T24" fmla="*/ 883 w 1723"/>
                <a:gd name="T25" fmla="*/ 555 h 1176"/>
                <a:gd name="T26" fmla="*/ 861 w 1723"/>
                <a:gd name="T27" fmla="*/ 577 h 1176"/>
                <a:gd name="T28" fmla="*/ 839 w 1723"/>
                <a:gd name="T29" fmla="*/ 555 h 1176"/>
                <a:gd name="T30" fmla="*/ 839 w 1723"/>
                <a:gd name="T31" fmla="*/ 314 h 1176"/>
                <a:gd name="T32" fmla="*/ 861 w 1723"/>
                <a:gd name="T33" fmla="*/ 292 h 1176"/>
                <a:gd name="T34" fmla="*/ 883 w 1723"/>
                <a:gd name="T35" fmla="*/ 314 h 1176"/>
                <a:gd name="T36" fmla="*/ 883 w 1723"/>
                <a:gd name="T37" fmla="*/ 555 h 1176"/>
                <a:gd name="T38" fmla="*/ 883 w 1723"/>
                <a:gd name="T39" fmla="*/ 177 h 1176"/>
                <a:gd name="T40" fmla="*/ 861 w 1723"/>
                <a:gd name="T41" fmla="*/ 199 h 1176"/>
                <a:gd name="T42" fmla="*/ 839 w 1723"/>
                <a:gd name="T43" fmla="*/ 177 h 1176"/>
                <a:gd name="T44" fmla="*/ 839 w 1723"/>
                <a:gd name="T45" fmla="*/ 50 h 1176"/>
                <a:gd name="T46" fmla="*/ 861 w 1723"/>
                <a:gd name="T47" fmla="*/ 28 h 1176"/>
                <a:gd name="T48" fmla="*/ 883 w 1723"/>
                <a:gd name="T49" fmla="*/ 50 h 1176"/>
                <a:gd name="T50" fmla="*/ 883 w 1723"/>
                <a:gd name="T51" fmla="*/ 177 h 1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723" h="1176">
                  <a:moveTo>
                    <a:pt x="963" y="0"/>
                  </a:moveTo>
                  <a:cubicBezTo>
                    <a:pt x="760" y="0"/>
                    <a:pt x="760" y="0"/>
                    <a:pt x="760" y="0"/>
                  </a:cubicBezTo>
                  <a:cubicBezTo>
                    <a:pt x="0" y="1176"/>
                    <a:pt x="0" y="1176"/>
                    <a:pt x="0" y="1176"/>
                  </a:cubicBezTo>
                  <a:cubicBezTo>
                    <a:pt x="1723" y="1176"/>
                    <a:pt x="1723" y="1176"/>
                    <a:pt x="1723" y="1176"/>
                  </a:cubicBezTo>
                  <a:lnTo>
                    <a:pt x="963" y="0"/>
                  </a:lnTo>
                  <a:close/>
                  <a:moveTo>
                    <a:pt x="883" y="1054"/>
                  </a:moveTo>
                  <a:cubicBezTo>
                    <a:pt x="883" y="1066"/>
                    <a:pt x="873" y="1076"/>
                    <a:pt x="861" y="1076"/>
                  </a:cubicBezTo>
                  <a:cubicBezTo>
                    <a:pt x="849" y="1076"/>
                    <a:pt x="839" y="1066"/>
                    <a:pt x="839" y="1054"/>
                  </a:cubicBezTo>
                  <a:cubicBezTo>
                    <a:pt x="839" y="727"/>
                    <a:pt x="839" y="727"/>
                    <a:pt x="839" y="727"/>
                  </a:cubicBezTo>
                  <a:cubicBezTo>
                    <a:pt x="839" y="715"/>
                    <a:pt x="849" y="705"/>
                    <a:pt x="861" y="705"/>
                  </a:cubicBezTo>
                  <a:cubicBezTo>
                    <a:pt x="873" y="705"/>
                    <a:pt x="883" y="715"/>
                    <a:pt x="883" y="727"/>
                  </a:cubicBezTo>
                  <a:lnTo>
                    <a:pt x="883" y="1054"/>
                  </a:lnTo>
                  <a:close/>
                  <a:moveTo>
                    <a:pt x="883" y="555"/>
                  </a:moveTo>
                  <a:cubicBezTo>
                    <a:pt x="883" y="567"/>
                    <a:pt x="873" y="577"/>
                    <a:pt x="861" y="577"/>
                  </a:cubicBezTo>
                  <a:cubicBezTo>
                    <a:pt x="849" y="577"/>
                    <a:pt x="839" y="567"/>
                    <a:pt x="839" y="555"/>
                  </a:cubicBezTo>
                  <a:cubicBezTo>
                    <a:pt x="839" y="314"/>
                    <a:pt x="839" y="314"/>
                    <a:pt x="839" y="314"/>
                  </a:cubicBezTo>
                  <a:cubicBezTo>
                    <a:pt x="839" y="302"/>
                    <a:pt x="849" y="292"/>
                    <a:pt x="861" y="292"/>
                  </a:cubicBezTo>
                  <a:cubicBezTo>
                    <a:pt x="873" y="292"/>
                    <a:pt x="883" y="302"/>
                    <a:pt x="883" y="314"/>
                  </a:cubicBezTo>
                  <a:lnTo>
                    <a:pt x="883" y="555"/>
                  </a:lnTo>
                  <a:close/>
                  <a:moveTo>
                    <a:pt x="883" y="177"/>
                  </a:moveTo>
                  <a:cubicBezTo>
                    <a:pt x="883" y="189"/>
                    <a:pt x="873" y="199"/>
                    <a:pt x="861" y="199"/>
                  </a:cubicBezTo>
                  <a:cubicBezTo>
                    <a:pt x="849" y="199"/>
                    <a:pt x="839" y="189"/>
                    <a:pt x="839" y="177"/>
                  </a:cubicBezTo>
                  <a:cubicBezTo>
                    <a:pt x="839" y="50"/>
                    <a:pt x="839" y="50"/>
                    <a:pt x="839" y="50"/>
                  </a:cubicBezTo>
                  <a:cubicBezTo>
                    <a:pt x="839" y="37"/>
                    <a:pt x="849" y="28"/>
                    <a:pt x="861" y="28"/>
                  </a:cubicBezTo>
                  <a:cubicBezTo>
                    <a:pt x="873" y="28"/>
                    <a:pt x="883" y="37"/>
                    <a:pt x="883" y="50"/>
                  </a:cubicBezTo>
                  <a:lnTo>
                    <a:pt x="883" y="17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ym typeface="Trebuchet MS" panose="020B0603020202020204" pitchFamily="34" charset="0"/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69213BE3-DFCC-46BA-AD21-54E5344E56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2" y="1052"/>
              <a:ext cx="3625" cy="2201"/>
            </a:xfrm>
            <a:custGeom>
              <a:avLst/>
              <a:gdLst>
                <a:gd name="T0" fmla="*/ 0 w 3625"/>
                <a:gd name="T1" fmla="*/ 2201 h 2201"/>
                <a:gd name="T2" fmla="*/ 1420 w 3625"/>
                <a:gd name="T3" fmla="*/ 0 h 2201"/>
                <a:gd name="T4" fmla="*/ 1520 w 3625"/>
                <a:gd name="T5" fmla="*/ 0 h 2201"/>
                <a:gd name="T6" fmla="*/ 98 w 3625"/>
                <a:gd name="T7" fmla="*/ 2201 h 2201"/>
                <a:gd name="T8" fmla="*/ 0 w 3625"/>
                <a:gd name="T9" fmla="*/ 2201 h 2201"/>
                <a:gd name="T10" fmla="*/ 2106 w 3625"/>
                <a:gd name="T11" fmla="*/ 0 h 2201"/>
                <a:gd name="T12" fmla="*/ 3526 w 3625"/>
                <a:gd name="T13" fmla="*/ 2201 h 2201"/>
                <a:gd name="T14" fmla="*/ 3625 w 3625"/>
                <a:gd name="T15" fmla="*/ 2201 h 2201"/>
                <a:gd name="T16" fmla="*/ 2203 w 3625"/>
                <a:gd name="T17" fmla="*/ 0 h 2201"/>
                <a:gd name="T18" fmla="*/ 2106 w 3625"/>
                <a:gd name="T19" fmla="*/ 0 h 2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25" h="2201">
                  <a:moveTo>
                    <a:pt x="0" y="2201"/>
                  </a:moveTo>
                  <a:lnTo>
                    <a:pt x="1420" y="0"/>
                  </a:lnTo>
                  <a:lnTo>
                    <a:pt x="1520" y="0"/>
                  </a:lnTo>
                  <a:lnTo>
                    <a:pt x="98" y="2201"/>
                  </a:lnTo>
                  <a:lnTo>
                    <a:pt x="0" y="2201"/>
                  </a:lnTo>
                  <a:close/>
                  <a:moveTo>
                    <a:pt x="2106" y="0"/>
                  </a:moveTo>
                  <a:lnTo>
                    <a:pt x="3526" y="2201"/>
                  </a:lnTo>
                  <a:lnTo>
                    <a:pt x="3625" y="2201"/>
                  </a:lnTo>
                  <a:lnTo>
                    <a:pt x="2203" y="0"/>
                  </a:lnTo>
                  <a:lnTo>
                    <a:pt x="210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ym typeface="Trebuchet MS" panose="020B0603020202020204" pitchFamily="34" charset="0"/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30C7977A-2466-4C07-9D7A-219F9B9047F8}"/>
              </a:ext>
            </a:extLst>
          </p:cNvPr>
          <p:cNvSpPr/>
          <p:nvPr/>
        </p:nvSpPr>
        <p:spPr>
          <a:xfrm>
            <a:off x="1294959" y="3651117"/>
            <a:ext cx="1033986" cy="369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200" b="1" dirty="0">
                <a:solidFill>
                  <a:srgbClr val="575757"/>
                </a:solidFill>
                <a:sym typeface="Trebuchet MS" panose="020B0603020202020204" pitchFamily="34" charset="0"/>
              </a:rPr>
              <a:t>Concrete</a:t>
            </a:r>
          </a:p>
          <a:p>
            <a:r>
              <a:rPr lang="en-US" sz="1200" b="1" dirty="0">
                <a:solidFill>
                  <a:srgbClr val="575757"/>
                </a:solidFill>
                <a:sym typeface="Trebuchet MS" panose="020B0603020202020204" pitchFamily="34" charset="0"/>
              </a:rPr>
              <a:t>equipment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A0429AA8-CEBF-4F39-894F-728E853EAE11}"/>
              </a:ext>
            </a:extLst>
          </p:cNvPr>
          <p:cNvGrpSpPr>
            <a:grpSpLocks noChangeAspect="1"/>
          </p:cNvGrpSpPr>
          <p:nvPr/>
        </p:nvGrpSpPr>
        <p:grpSpPr>
          <a:xfrm>
            <a:off x="630000" y="4849451"/>
            <a:ext cx="475937" cy="476250"/>
            <a:chOff x="5272881" y="2605088"/>
            <a:chExt cx="1646238" cy="1647825"/>
          </a:xfrm>
        </p:grpSpPr>
        <p:sp>
          <p:nvSpPr>
            <p:cNvPr id="34" name="AutoShape 50">
              <a:extLst>
                <a:ext uri="{FF2B5EF4-FFF2-40B4-BE49-F238E27FC236}">
                  <a16:creationId xmlns:a16="http://schemas.microsoft.com/office/drawing/2014/main" id="{9821C024-EFA6-4C47-B030-73A39A9C1EF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2881" y="2605088"/>
              <a:ext cx="1646238" cy="1647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ym typeface="Trebuchet MS" panose="020B0603020202020204" pitchFamily="34" charset="0"/>
              </a:endParaRP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66EDAC20-1BBA-4B67-B369-363069BAD1E4}"/>
                </a:ext>
              </a:extLst>
            </p:cNvPr>
            <p:cNvGrpSpPr/>
            <p:nvPr/>
          </p:nvGrpSpPr>
          <p:grpSpPr>
            <a:xfrm>
              <a:off x="5442744" y="2774950"/>
              <a:ext cx="1306513" cy="1308100"/>
              <a:chOff x="5442744" y="2774950"/>
              <a:chExt cx="1306513" cy="1308100"/>
            </a:xfrm>
          </p:grpSpPr>
          <p:sp>
            <p:nvSpPr>
              <p:cNvPr id="36" name="Freeform 5">
                <a:extLst>
                  <a:ext uri="{FF2B5EF4-FFF2-40B4-BE49-F238E27FC236}">
                    <a16:creationId xmlns:a16="http://schemas.microsoft.com/office/drawing/2014/main" id="{32B08BF6-F0DF-4E0A-95C8-D576F52582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9107" y="3005137"/>
                <a:ext cx="1087438" cy="898526"/>
              </a:xfrm>
              <a:custGeom>
                <a:avLst/>
                <a:gdLst>
                  <a:gd name="connsiteX0" fmla="*/ 1025525 w 1087438"/>
                  <a:gd name="connsiteY0" fmla="*/ 722313 h 898526"/>
                  <a:gd name="connsiteX1" fmla="*/ 1070359 w 1087438"/>
                  <a:gd name="connsiteY1" fmla="*/ 722313 h 898526"/>
                  <a:gd name="connsiteX2" fmla="*/ 1087438 w 1087438"/>
                  <a:gd name="connsiteY2" fmla="*/ 738691 h 898526"/>
                  <a:gd name="connsiteX3" fmla="*/ 1087438 w 1087438"/>
                  <a:gd name="connsiteY3" fmla="*/ 895351 h 898526"/>
                  <a:gd name="connsiteX4" fmla="*/ 1055414 w 1087438"/>
                  <a:gd name="connsiteY4" fmla="*/ 895351 h 898526"/>
                  <a:gd name="connsiteX5" fmla="*/ 1055414 w 1087438"/>
                  <a:gd name="connsiteY5" fmla="*/ 754357 h 898526"/>
                  <a:gd name="connsiteX6" fmla="*/ 1025525 w 1087438"/>
                  <a:gd name="connsiteY6" fmla="*/ 754357 h 898526"/>
                  <a:gd name="connsiteX7" fmla="*/ 1025525 w 1087438"/>
                  <a:gd name="connsiteY7" fmla="*/ 722313 h 898526"/>
                  <a:gd name="connsiteX8" fmla="*/ 49048 w 1087438"/>
                  <a:gd name="connsiteY8" fmla="*/ 203200 h 898526"/>
                  <a:gd name="connsiteX9" fmla="*/ 47625 w 1087438"/>
                  <a:gd name="connsiteY9" fmla="*/ 206073 h 898526"/>
                  <a:gd name="connsiteX10" fmla="*/ 47625 w 1087438"/>
                  <a:gd name="connsiteY10" fmla="*/ 520700 h 898526"/>
                  <a:gd name="connsiteX11" fmla="*/ 157163 w 1087438"/>
                  <a:gd name="connsiteY11" fmla="*/ 520700 h 898526"/>
                  <a:gd name="connsiteX12" fmla="*/ 157163 w 1087438"/>
                  <a:gd name="connsiteY12" fmla="*/ 206073 h 898526"/>
                  <a:gd name="connsiteX13" fmla="*/ 155741 w 1087438"/>
                  <a:gd name="connsiteY13" fmla="*/ 203200 h 898526"/>
                  <a:gd name="connsiteX14" fmla="*/ 49048 w 1087438"/>
                  <a:gd name="connsiteY14" fmla="*/ 203200 h 898526"/>
                  <a:gd name="connsiteX15" fmla="*/ 15037 w 1087438"/>
                  <a:gd name="connsiteY15" fmla="*/ 173038 h 898526"/>
                  <a:gd name="connsiteX16" fmla="*/ 190467 w 1087438"/>
                  <a:gd name="connsiteY16" fmla="*/ 173038 h 898526"/>
                  <a:gd name="connsiteX17" fmla="*/ 204788 w 1087438"/>
                  <a:gd name="connsiteY17" fmla="*/ 188763 h 898526"/>
                  <a:gd name="connsiteX18" fmla="*/ 190467 w 1087438"/>
                  <a:gd name="connsiteY18" fmla="*/ 204488 h 898526"/>
                  <a:gd name="connsiteX19" fmla="*/ 186171 w 1087438"/>
                  <a:gd name="connsiteY19" fmla="*/ 204488 h 898526"/>
                  <a:gd name="connsiteX20" fmla="*/ 186171 w 1087438"/>
                  <a:gd name="connsiteY20" fmla="*/ 207347 h 898526"/>
                  <a:gd name="connsiteX21" fmla="*/ 186171 w 1087438"/>
                  <a:gd name="connsiteY21" fmla="*/ 520415 h 898526"/>
                  <a:gd name="connsiteX22" fmla="*/ 190467 w 1087438"/>
                  <a:gd name="connsiteY22" fmla="*/ 520415 h 898526"/>
                  <a:gd name="connsiteX23" fmla="*/ 204788 w 1087438"/>
                  <a:gd name="connsiteY23" fmla="*/ 536140 h 898526"/>
                  <a:gd name="connsiteX24" fmla="*/ 190467 w 1087438"/>
                  <a:gd name="connsiteY24" fmla="*/ 551864 h 898526"/>
                  <a:gd name="connsiteX25" fmla="*/ 186171 w 1087438"/>
                  <a:gd name="connsiteY25" fmla="*/ 551864 h 898526"/>
                  <a:gd name="connsiteX26" fmla="*/ 186171 w 1087438"/>
                  <a:gd name="connsiteY26" fmla="*/ 898526 h 898526"/>
                  <a:gd name="connsiteX27" fmla="*/ 157529 w 1087438"/>
                  <a:gd name="connsiteY27" fmla="*/ 898526 h 898526"/>
                  <a:gd name="connsiteX28" fmla="*/ 157529 w 1087438"/>
                  <a:gd name="connsiteY28" fmla="*/ 551864 h 898526"/>
                  <a:gd name="connsiteX29" fmla="*/ 47259 w 1087438"/>
                  <a:gd name="connsiteY29" fmla="*/ 551864 h 898526"/>
                  <a:gd name="connsiteX30" fmla="*/ 47259 w 1087438"/>
                  <a:gd name="connsiteY30" fmla="*/ 898526 h 898526"/>
                  <a:gd name="connsiteX31" fmla="*/ 18617 w 1087438"/>
                  <a:gd name="connsiteY31" fmla="*/ 898526 h 898526"/>
                  <a:gd name="connsiteX32" fmla="*/ 18617 w 1087438"/>
                  <a:gd name="connsiteY32" fmla="*/ 551864 h 898526"/>
                  <a:gd name="connsiteX33" fmla="*/ 15037 w 1087438"/>
                  <a:gd name="connsiteY33" fmla="*/ 551864 h 898526"/>
                  <a:gd name="connsiteX34" fmla="*/ 0 w 1087438"/>
                  <a:gd name="connsiteY34" fmla="*/ 536140 h 898526"/>
                  <a:gd name="connsiteX35" fmla="*/ 15037 w 1087438"/>
                  <a:gd name="connsiteY35" fmla="*/ 520415 h 898526"/>
                  <a:gd name="connsiteX36" fmla="*/ 18617 w 1087438"/>
                  <a:gd name="connsiteY36" fmla="*/ 520415 h 898526"/>
                  <a:gd name="connsiteX37" fmla="*/ 18617 w 1087438"/>
                  <a:gd name="connsiteY37" fmla="*/ 207347 h 898526"/>
                  <a:gd name="connsiteX38" fmla="*/ 18617 w 1087438"/>
                  <a:gd name="connsiteY38" fmla="*/ 204488 h 898526"/>
                  <a:gd name="connsiteX39" fmla="*/ 15037 w 1087438"/>
                  <a:gd name="connsiteY39" fmla="*/ 204488 h 898526"/>
                  <a:gd name="connsiteX40" fmla="*/ 0 w 1087438"/>
                  <a:gd name="connsiteY40" fmla="*/ 188763 h 898526"/>
                  <a:gd name="connsiteX41" fmla="*/ 15037 w 1087438"/>
                  <a:gd name="connsiteY41" fmla="*/ 173038 h 898526"/>
                  <a:gd name="connsiteX42" fmla="*/ 634139 w 1087438"/>
                  <a:gd name="connsiteY42" fmla="*/ 133350 h 898526"/>
                  <a:gd name="connsiteX43" fmla="*/ 913675 w 1087438"/>
                  <a:gd name="connsiteY43" fmla="*/ 133350 h 898526"/>
                  <a:gd name="connsiteX44" fmla="*/ 928688 w 1087438"/>
                  <a:gd name="connsiteY44" fmla="*/ 150744 h 898526"/>
                  <a:gd name="connsiteX45" fmla="*/ 928688 w 1087438"/>
                  <a:gd name="connsiteY45" fmla="*/ 200025 h 898526"/>
                  <a:gd name="connsiteX46" fmla="*/ 900091 w 1087438"/>
                  <a:gd name="connsiteY46" fmla="*/ 197126 h 898526"/>
                  <a:gd name="connsiteX47" fmla="*/ 900091 w 1087438"/>
                  <a:gd name="connsiteY47" fmla="*/ 165963 h 898526"/>
                  <a:gd name="connsiteX48" fmla="*/ 647722 w 1087438"/>
                  <a:gd name="connsiteY48" fmla="*/ 165963 h 898526"/>
                  <a:gd name="connsiteX49" fmla="*/ 647722 w 1087438"/>
                  <a:gd name="connsiteY49" fmla="*/ 197126 h 898526"/>
                  <a:gd name="connsiteX50" fmla="*/ 619125 w 1087438"/>
                  <a:gd name="connsiteY50" fmla="*/ 200025 h 898526"/>
                  <a:gd name="connsiteX51" fmla="*/ 619125 w 1087438"/>
                  <a:gd name="connsiteY51" fmla="*/ 150744 h 898526"/>
                  <a:gd name="connsiteX52" fmla="*/ 634139 w 1087438"/>
                  <a:gd name="connsiteY52" fmla="*/ 133350 h 898526"/>
                  <a:gd name="connsiteX53" fmla="*/ 312573 w 1087438"/>
                  <a:gd name="connsiteY53" fmla="*/ 31750 h 898526"/>
                  <a:gd name="connsiteX54" fmla="*/ 311150 w 1087438"/>
                  <a:gd name="connsiteY54" fmla="*/ 34615 h 898526"/>
                  <a:gd name="connsiteX55" fmla="*/ 311150 w 1087438"/>
                  <a:gd name="connsiteY55" fmla="*/ 434975 h 898526"/>
                  <a:gd name="connsiteX56" fmla="*/ 420688 w 1087438"/>
                  <a:gd name="connsiteY56" fmla="*/ 434975 h 898526"/>
                  <a:gd name="connsiteX57" fmla="*/ 420688 w 1087438"/>
                  <a:gd name="connsiteY57" fmla="*/ 34615 h 898526"/>
                  <a:gd name="connsiteX58" fmla="*/ 419266 w 1087438"/>
                  <a:gd name="connsiteY58" fmla="*/ 31750 h 898526"/>
                  <a:gd name="connsiteX59" fmla="*/ 312573 w 1087438"/>
                  <a:gd name="connsiteY59" fmla="*/ 31750 h 898526"/>
                  <a:gd name="connsiteX60" fmla="*/ 278562 w 1087438"/>
                  <a:gd name="connsiteY60" fmla="*/ 0 h 898526"/>
                  <a:gd name="connsiteX61" fmla="*/ 453992 w 1087438"/>
                  <a:gd name="connsiteY61" fmla="*/ 0 h 898526"/>
                  <a:gd name="connsiteX62" fmla="*/ 468313 w 1087438"/>
                  <a:gd name="connsiteY62" fmla="*/ 15739 h 898526"/>
                  <a:gd name="connsiteX63" fmla="*/ 453992 w 1087438"/>
                  <a:gd name="connsiteY63" fmla="*/ 31477 h 898526"/>
                  <a:gd name="connsiteX64" fmla="*/ 449696 w 1087438"/>
                  <a:gd name="connsiteY64" fmla="*/ 31477 h 898526"/>
                  <a:gd name="connsiteX65" fmla="*/ 449696 w 1087438"/>
                  <a:gd name="connsiteY65" fmla="*/ 34339 h 898526"/>
                  <a:gd name="connsiteX66" fmla="*/ 449696 w 1087438"/>
                  <a:gd name="connsiteY66" fmla="*/ 434240 h 898526"/>
                  <a:gd name="connsiteX67" fmla="*/ 453992 w 1087438"/>
                  <a:gd name="connsiteY67" fmla="*/ 434240 h 898526"/>
                  <a:gd name="connsiteX68" fmla="*/ 468313 w 1087438"/>
                  <a:gd name="connsiteY68" fmla="*/ 449978 h 898526"/>
                  <a:gd name="connsiteX69" fmla="*/ 453992 w 1087438"/>
                  <a:gd name="connsiteY69" fmla="*/ 465717 h 898526"/>
                  <a:gd name="connsiteX70" fmla="*/ 449696 w 1087438"/>
                  <a:gd name="connsiteY70" fmla="*/ 465717 h 898526"/>
                  <a:gd name="connsiteX71" fmla="*/ 449696 w 1087438"/>
                  <a:gd name="connsiteY71" fmla="*/ 898525 h 898526"/>
                  <a:gd name="connsiteX72" fmla="*/ 421054 w 1087438"/>
                  <a:gd name="connsiteY72" fmla="*/ 898525 h 898526"/>
                  <a:gd name="connsiteX73" fmla="*/ 421054 w 1087438"/>
                  <a:gd name="connsiteY73" fmla="*/ 465717 h 898526"/>
                  <a:gd name="connsiteX74" fmla="*/ 310784 w 1087438"/>
                  <a:gd name="connsiteY74" fmla="*/ 465717 h 898526"/>
                  <a:gd name="connsiteX75" fmla="*/ 310784 w 1087438"/>
                  <a:gd name="connsiteY75" fmla="*/ 898525 h 898526"/>
                  <a:gd name="connsiteX76" fmla="*/ 282142 w 1087438"/>
                  <a:gd name="connsiteY76" fmla="*/ 898525 h 898526"/>
                  <a:gd name="connsiteX77" fmla="*/ 282142 w 1087438"/>
                  <a:gd name="connsiteY77" fmla="*/ 465717 h 898526"/>
                  <a:gd name="connsiteX78" fmla="*/ 278562 w 1087438"/>
                  <a:gd name="connsiteY78" fmla="*/ 465717 h 898526"/>
                  <a:gd name="connsiteX79" fmla="*/ 263525 w 1087438"/>
                  <a:gd name="connsiteY79" fmla="*/ 449978 h 898526"/>
                  <a:gd name="connsiteX80" fmla="*/ 278562 w 1087438"/>
                  <a:gd name="connsiteY80" fmla="*/ 434240 h 898526"/>
                  <a:gd name="connsiteX81" fmla="*/ 282142 w 1087438"/>
                  <a:gd name="connsiteY81" fmla="*/ 434240 h 898526"/>
                  <a:gd name="connsiteX82" fmla="*/ 282142 w 1087438"/>
                  <a:gd name="connsiteY82" fmla="*/ 34339 h 898526"/>
                  <a:gd name="connsiteX83" fmla="*/ 282142 w 1087438"/>
                  <a:gd name="connsiteY83" fmla="*/ 31477 h 898526"/>
                  <a:gd name="connsiteX84" fmla="*/ 278562 w 1087438"/>
                  <a:gd name="connsiteY84" fmla="*/ 31477 h 898526"/>
                  <a:gd name="connsiteX85" fmla="*/ 263525 w 1087438"/>
                  <a:gd name="connsiteY85" fmla="*/ 15739 h 898526"/>
                  <a:gd name="connsiteX86" fmla="*/ 278562 w 1087438"/>
                  <a:gd name="connsiteY86" fmla="*/ 0 h 898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</a:cxnLst>
                <a:rect l="l" t="t" r="r" b="b"/>
                <a:pathLst>
                  <a:path w="1087438" h="898526">
                    <a:moveTo>
                      <a:pt x="1025525" y="722313"/>
                    </a:moveTo>
                    <a:cubicBezTo>
                      <a:pt x="1025525" y="722313"/>
                      <a:pt x="1025525" y="722313"/>
                      <a:pt x="1070359" y="722313"/>
                    </a:cubicBezTo>
                    <a:cubicBezTo>
                      <a:pt x="1080322" y="722313"/>
                      <a:pt x="1087438" y="729434"/>
                      <a:pt x="1087438" y="738691"/>
                    </a:cubicBezTo>
                    <a:cubicBezTo>
                      <a:pt x="1087438" y="738691"/>
                      <a:pt x="1087438" y="738691"/>
                      <a:pt x="1087438" y="895351"/>
                    </a:cubicBezTo>
                    <a:cubicBezTo>
                      <a:pt x="1087438" y="895351"/>
                      <a:pt x="1087438" y="895351"/>
                      <a:pt x="1055414" y="895351"/>
                    </a:cubicBezTo>
                    <a:cubicBezTo>
                      <a:pt x="1055414" y="895351"/>
                      <a:pt x="1055414" y="895351"/>
                      <a:pt x="1055414" y="754357"/>
                    </a:cubicBezTo>
                    <a:cubicBezTo>
                      <a:pt x="1055414" y="754357"/>
                      <a:pt x="1055414" y="754357"/>
                      <a:pt x="1025525" y="754357"/>
                    </a:cubicBezTo>
                    <a:cubicBezTo>
                      <a:pt x="1025525" y="754357"/>
                      <a:pt x="1025525" y="754357"/>
                      <a:pt x="1025525" y="722313"/>
                    </a:cubicBezTo>
                    <a:close/>
                    <a:moveTo>
                      <a:pt x="49048" y="203200"/>
                    </a:moveTo>
                    <a:cubicBezTo>
                      <a:pt x="49048" y="203200"/>
                      <a:pt x="47625" y="203918"/>
                      <a:pt x="47625" y="206073"/>
                    </a:cubicBezTo>
                    <a:cubicBezTo>
                      <a:pt x="47625" y="206073"/>
                      <a:pt x="47625" y="206073"/>
                      <a:pt x="47625" y="520700"/>
                    </a:cubicBezTo>
                    <a:cubicBezTo>
                      <a:pt x="68964" y="520700"/>
                      <a:pt x="103106" y="520700"/>
                      <a:pt x="157163" y="520700"/>
                    </a:cubicBezTo>
                    <a:cubicBezTo>
                      <a:pt x="157163" y="520700"/>
                      <a:pt x="157163" y="520700"/>
                      <a:pt x="157163" y="206073"/>
                    </a:cubicBezTo>
                    <a:cubicBezTo>
                      <a:pt x="157163" y="204637"/>
                      <a:pt x="155741" y="203200"/>
                      <a:pt x="155741" y="203200"/>
                    </a:cubicBezTo>
                    <a:cubicBezTo>
                      <a:pt x="134402" y="203200"/>
                      <a:pt x="100972" y="203200"/>
                      <a:pt x="49048" y="203200"/>
                    </a:cubicBezTo>
                    <a:close/>
                    <a:moveTo>
                      <a:pt x="15037" y="173038"/>
                    </a:moveTo>
                    <a:cubicBezTo>
                      <a:pt x="15037" y="173038"/>
                      <a:pt x="43679" y="173038"/>
                      <a:pt x="190467" y="173038"/>
                    </a:cubicBezTo>
                    <a:cubicBezTo>
                      <a:pt x="198344" y="173038"/>
                      <a:pt x="204788" y="180186"/>
                      <a:pt x="204788" y="188763"/>
                    </a:cubicBezTo>
                    <a:cubicBezTo>
                      <a:pt x="204788" y="196625"/>
                      <a:pt x="198344" y="204488"/>
                      <a:pt x="190467" y="204488"/>
                    </a:cubicBezTo>
                    <a:cubicBezTo>
                      <a:pt x="190467" y="204488"/>
                      <a:pt x="189035" y="204488"/>
                      <a:pt x="186171" y="204488"/>
                    </a:cubicBezTo>
                    <a:cubicBezTo>
                      <a:pt x="186171" y="205203"/>
                      <a:pt x="186171" y="206632"/>
                      <a:pt x="186171" y="207347"/>
                    </a:cubicBezTo>
                    <a:cubicBezTo>
                      <a:pt x="186171" y="207347"/>
                      <a:pt x="186171" y="207347"/>
                      <a:pt x="186171" y="520415"/>
                    </a:cubicBezTo>
                    <a:cubicBezTo>
                      <a:pt x="187603" y="520415"/>
                      <a:pt x="189035" y="520415"/>
                      <a:pt x="190467" y="520415"/>
                    </a:cubicBezTo>
                    <a:cubicBezTo>
                      <a:pt x="198344" y="520415"/>
                      <a:pt x="204788" y="527562"/>
                      <a:pt x="204788" y="536140"/>
                    </a:cubicBezTo>
                    <a:cubicBezTo>
                      <a:pt x="204788" y="544002"/>
                      <a:pt x="198344" y="551864"/>
                      <a:pt x="190467" y="551864"/>
                    </a:cubicBezTo>
                    <a:cubicBezTo>
                      <a:pt x="190467" y="551864"/>
                      <a:pt x="189035" y="551864"/>
                      <a:pt x="186171" y="551864"/>
                    </a:cubicBezTo>
                    <a:cubicBezTo>
                      <a:pt x="186171" y="551864"/>
                      <a:pt x="186171" y="551864"/>
                      <a:pt x="186171" y="898526"/>
                    </a:cubicBezTo>
                    <a:cubicBezTo>
                      <a:pt x="186171" y="898526"/>
                      <a:pt x="186171" y="898526"/>
                      <a:pt x="157529" y="898526"/>
                    </a:cubicBezTo>
                    <a:cubicBezTo>
                      <a:pt x="157529" y="898526"/>
                      <a:pt x="157529" y="898526"/>
                      <a:pt x="157529" y="551864"/>
                    </a:cubicBezTo>
                    <a:cubicBezTo>
                      <a:pt x="136048" y="551864"/>
                      <a:pt x="101678" y="551864"/>
                      <a:pt x="47259" y="551864"/>
                    </a:cubicBezTo>
                    <a:cubicBezTo>
                      <a:pt x="47259" y="551864"/>
                      <a:pt x="47259" y="551864"/>
                      <a:pt x="47259" y="898526"/>
                    </a:cubicBezTo>
                    <a:cubicBezTo>
                      <a:pt x="47259" y="898526"/>
                      <a:pt x="47259" y="898526"/>
                      <a:pt x="18617" y="898526"/>
                    </a:cubicBezTo>
                    <a:cubicBezTo>
                      <a:pt x="18617" y="898526"/>
                      <a:pt x="18617" y="898526"/>
                      <a:pt x="18617" y="551864"/>
                    </a:cubicBezTo>
                    <a:cubicBezTo>
                      <a:pt x="17185" y="551864"/>
                      <a:pt x="16469" y="551864"/>
                      <a:pt x="15037" y="551864"/>
                    </a:cubicBezTo>
                    <a:cubicBezTo>
                      <a:pt x="7161" y="551864"/>
                      <a:pt x="0" y="544002"/>
                      <a:pt x="0" y="536140"/>
                    </a:cubicBezTo>
                    <a:cubicBezTo>
                      <a:pt x="0" y="527562"/>
                      <a:pt x="7161" y="520415"/>
                      <a:pt x="15037" y="520415"/>
                    </a:cubicBezTo>
                    <a:cubicBezTo>
                      <a:pt x="15037" y="520415"/>
                      <a:pt x="16469" y="520415"/>
                      <a:pt x="18617" y="520415"/>
                    </a:cubicBezTo>
                    <a:cubicBezTo>
                      <a:pt x="18617" y="520415"/>
                      <a:pt x="18617" y="520415"/>
                      <a:pt x="18617" y="207347"/>
                    </a:cubicBezTo>
                    <a:cubicBezTo>
                      <a:pt x="18617" y="206632"/>
                      <a:pt x="18617" y="205203"/>
                      <a:pt x="18617" y="204488"/>
                    </a:cubicBezTo>
                    <a:cubicBezTo>
                      <a:pt x="17901" y="204488"/>
                      <a:pt x="16469" y="204488"/>
                      <a:pt x="15037" y="204488"/>
                    </a:cubicBezTo>
                    <a:cubicBezTo>
                      <a:pt x="7161" y="204488"/>
                      <a:pt x="0" y="196625"/>
                      <a:pt x="0" y="188763"/>
                    </a:cubicBezTo>
                    <a:cubicBezTo>
                      <a:pt x="0" y="180186"/>
                      <a:pt x="7161" y="173038"/>
                      <a:pt x="15037" y="173038"/>
                    </a:cubicBezTo>
                    <a:close/>
                    <a:moveTo>
                      <a:pt x="634139" y="133350"/>
                    </a:moveTo>
                    <a:cubicBezTo>
                      <a:pt x="634139" y="133350"/>
                      <a:pt x="634139" y="133350"/>
                      <a:pt x="913675" y="133350"/>
                    </a:cubicBezTo>
                    <a:cubicBezTo>
                      <a:pt x="922254" y="133350"/>
                      <a:pt x="928688" y="141322"/>
                      <a:pt x="928688" y="150744"/>
                    </a:cubicBezTo>
                    <a:cubicBezTo>
                      <a:pt x="928688" y="150744"/>
                      <a:pt x="928688" y="153643"/>
                      <a:pt x="928688" y="200025"/>
                    </a:cubicBezTo>
                    <a:cubicBezTo>
                      <a:pt x="928688" y="200025"/>
                      <a:pt x="915820" y="198576"/>
                      <a:pt x="900091" y="197126"/>
                    </a:cubicBezTo>
                    <a:cubicBezTo>
                      <a:pt x="900091" y="197126"/>
                      <a:pt x="900091" y="197126"/>
                      <a:pt x="900091" y="165963"/>
                    </a:cubicBezTo>
                    <a:cubicBezTo>
                      <a:pt x="900091" y="165963"/>
                      <a:pt x="900091" y="165963"/>
                      <a:pt x="647722" y="165963"/>
                    </a:cubicBezTo>
                    <a:cubicBezTo>
                      <a:pt x="647722" y="165963"/>
                      <a:pt x="647722" y="165963"/>
                      <a:pt x="647722" y="197126"/>
                    </a:cubicBezTo>
                    <a:cubicBezTo>
                      <a:pt x="647722" y="197126"/>
                      <a:pt x="633424" y="198576"/>
                      <a:pt x="619125" y="200025"/>
                    </a:cubicBezTo>
                    <a:cubicBezTo>
                      <a:pt x="619125" y="200025"/>
                      <a:pt x="619125" y="197126"/>
                      <a:pt x="619125" y="150744"/>
                    </a:cubicBezTo>
                    <a:cubicBezTo>
                      <a:pt x="619125" y="141322"/>
                      <a:pt x="625560" y="133350"/>
                      <a:pt x="634139" y="133350"/>
                    </a:cubicBezTo>
                    <a:close/>
                    <a:moveTo>
                      <a:pt x="312573" y="31750"/>
                    </a:moveTo>
                    <a:cubicBezTo>
                      <a:pt x="312573" y="31750"/>
                      <a:pt x="311150" y="32466"/>
                      <a:pt x="311150" y="34615"/>
                    </a:cubicBezTo>
                    <a:cubicBezTo>
                      <a:pt x="311150" y="34615"/>
                      <a:pt x="311150" y="34615"/>
                      <a:pt x="311150" y="434975"/>
                    </a:cubicBezTo>
                    <a:cubicBezTo>
                      <a:pt x="332489" y="434975"/>
                      <a:pt x="366631" y="434975"/>
                      <a:pt x="420688" y="434975"/>
                    </a:cubicBezTo>
                    <a:cubicBezTo>
                      <a:pt x="420688" y="434975"/>
                      <a:pt x="420688" y="434975"/>
                      <a:pt x="420688" y="34615"/>
                    </a:cubicBezTo>
                    <a:cubicBezTo>
                      <a:pt x="420688" y="33183"/>
                      <a:pt x="419266" y="31750"/>
                      <a:pt x="419266" y="31750"/>
                    </a:cubicBezTo>
                    <a:cubicBezTo>
                      <a:pt x="397927" y="31750"/>
                      <a:pt x="364497" y="31750"/>
                      <a:pt x="312573" y="31750"/>
                    </a:cubicBezTo>
                    <a:close/>
                    <a:moveTo>
                      <a:pt x="278562" y="0"/>
                    </a:moveTo>
                    <a:cubicBezTo>
                      <a:pt x="278562" y="0"/>
                      <a:pt x="307204" y="0"/>
                      <a:pt x="453992" y="0"/>
                    </a:cubicBezTo>
                    <a:cubicBezTo>
                      <a:pt x="461869" y="0"/>
                      <a:pt x="468313" y="7154"/>
                      <a:pt x="468313" y="15739"/>
                    </a:cubicBezTo>
                    <a:cubicBezTo>
                      <a:pt x="468313" y="23608"/>
                      <a:pt x="461869" y="31477"/>
                      <a:pt x="453992" y="31477"/>
                    </a:cubicBezTo>
                    <a:cubicBezTo>
                      <a:pt x="453992" y="31477"/>
                      <a:pt x="452560" y="31477"/>
                      <a:pt x="449696" y="31477"/>
                    </a:cubicBezTo>
                    <a:cubicBezTo>
                      <a:pt x="449696" y="32193"/>
                      <a:pt x="449696" y="33623"/>
                      <a:pt x="449696" y="34339"/>
                    </a:cubicBezTo>
                    <a:cubicBezTo>
                      <a:pt x="449696" y="34339"/>
                      <a:pt x="449696" y="34339"/>
                      <a:pt x="449696" y="434240"/>
                    </a:cubicBezTo>
                    <a:cubicBezTo>
                      <a:pt x="451128" y="434240"/>
                      <a:pt x="452560" y="434240"/>
                      <a:pt x="453992" y="434240"/>
                    </a:cubicBezTo>
                    <a:cubicBezTo>
                      <a:pt x="461869" y="434240"/>
                      <a:pt x="468313" y="441393"/>
                      <a:pt x="468313" y="449978"/>
                    </a:cubicBezTo>
                    <a:cubicBezTo>
                      <a:pt x="468313" y="457847"/>
                      <a:pt x="461869" y="465717"/>
                      <a:pt x="453992" y="465717"/>
                    </a:cubicBezTo>
                    <a:cubicBezTo>
                      <a:pt x="453992" y="465717"/>
                      <a:pt x="452560" y="465717"/>
                      <a:pt x="449696" y="465717"/>
                    </a:cubicBezTo>
                    <a:cubicBezTo>
                      <a:pt x="449696" y="465717"/>
                      <a:pt x="449696" y="465717"/>
                      <a:pt x="449696" y="898525"/>
                    </a:cubicBezTo>
                    <a:cubicBezTo>
                      <a:pt x="449696" y="898525"/>
                      <a:pt x="449696" y="898525"/>
                      <a:pt x="421054" y="898525"/>
                    </a:cubicBezTo>
                    <a:cubicBezTo>
                      <a:pt x="421054" y="898525"/>
                      <a:pt x="421054" y="898525"/>
                      <a:pt x="421054" y="465717"/>
                    </a:cubicBezTo>
                    <a:cubicBezTo>
                      <a:pt x="399573" y="465717"/>
                      <a:pt x="365203" y="465717"/>
                      <a:pt x="310784" y="465717"/>
                    </a:cubicBezTo>
                    <a:cubicBezTo>
                      <a:pt x="310784" y="465717"/>
                      <a:pt x="310784" y="465717"/>
                      <a:pt x="310784" y="898525"/>
                    </a:cubicBezTo>
                    <a:cubicBezTo>
                      <a:pt x="310784" y="898525"/>
                      <a:pt x="310784" y="898525"/>
                      <a:pt x="282142" y="898525"/>
                    </a:cubicBezTo>
                    <a:cubicBezTo>
                      <a:pt x="282142" y="898525"/>
                      <a:pt x="282142" y="898525"/>
                      <a:pt x="282142" y="465717"/>
                    </a:cubicBezTo>
                    <a:cubicBezTo>
                      <a:pt x="280710" y="465717"/>
                      <a:pt x="279994" y="465717"/>
                      <a:pt x="278562" y="465717"/>
                    </a:cubicBezTo>
                    <a:cubicBezTo>
                      <a:pt x="270686" y="465717"/>
                      <a:pt x="263525" y="457847"/>
                      <a:pt x="263525" y="449978"/>
                    </a:cubicBezTo>
                    <a:cubicBezTo>
                      <a:pt x="263525" y="441393"/>
                      <a:pt x="270686" y="434240"/>
                      <a:pt x="278562" y="434240"/>
                    </a:cubicBezTo>
                    <a:cubicBezTo>
                      <a:pt x="278562" y="434240"/>
                      <a:pt x="279994" y="434240"/>
                      <a:pt x="282142" y="434240"/>
                    </a:cubicBezTo>
                    <a:cubicBezTo>
                      <a:pt x="282142" y="434240"/>
                      <a:pt x="282142" y="434240"/>
                      <a:pt x="282142" y="34339"/>
                    </a:cubicBezTo>
                    <a:cubicBezTo>
                      <a:pt x="282142" y="33623"/>
                      <a:pt x="282142" y="32193"/>
                      <a:pt x="282142" y="31477"/>
                    </a:cubicBezTo>
                    <a:cubicBezTo>
                      <a:pt x="281426" y="31477"/>
                      <a:pt x="279994" y="31477"/>
                      <a:pt x="278562" y="31477"/>
                    </a:cubicBezTo>
                    <a:cubicBezTo>
                      <a:pt x="270686" y="31477"/>
                      <a:pt x="263525" y="23608"/>
                      <a:pt x="263525" y="15739"/>
                    </a:cubicBezTo>
                    <a:cubicBezTo>
                      <a:pt x="263525" y="7154"/>
                      <a:pt x="270686" y="0"/>
                      <a:pt x="278562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>
                  <a:sym typeface="Trebuchet MS" panose="020B0603020202020204" pitchFamily="34" charset="0"/>
                </a:endParaRPr>
              </a:p>
            </p:txBody>
          </p:sp>
          <p:sp>
            <p:nvSpPr>
              <p:cNvPr id="37" name="Freeform 6">
                <a:extLst>
                  <a:ext uri="{FF2B5EF4-FFF2-40B4-BE49-F238E27FC236}">
                    <a16:creationId xmlns:a16="http://schemas.microsoft.com/office/drawing/2014/main" id="{3D661061-1C60-46A1-B00A-ACA52E46A0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2744" y="2774950"/>
                <a:ext cx="1306513" cy="1308100"/>
              </a:xfrm>
              <a:custGeom>
                <a:avLst/>
                <a:gdLst>
                  <a:gd name="connsiteX0" fmla="*/ 118514 w 1306513"/>
                  <a:gd name="connsiteY0" fmla="*/ 1160462 h 1308100"/>
                  <a:gd name="connsiteX1" fmla="*/ 1187999 w 1306513"/>
                  <a:gd name="connsiteY1" fmla="*/ 1160462 h 1308100"/>
                  <a:gd name="connsiteX2" fmla="*/ 1203706 w 1306513"/>
                  <a:gd name="connsiteY2" fmla="*/ 1176153 h 1308100"/>
                  <a:gd name="connsiteX3" fmla="*/ 1203706 w 1306513"/>
                  <a:gd name="connsiteY3" fmla="*/ 1204682 h 1308100"/>
                  <a:gd name="connsiteX4" fmla="*/ 1290806 w 1306513"/>
                  <a:gd name="connsiteY4" fmla="*/ 1204682 h 1308100"/>
                  <a:gd name="connsiteX5" fmla="*/ 1306513 w 1306513"/>
                  <a:gd name="connsiteY5" fmla="*/ 1220373 h 1308100"/>
                  <a:gd name="connsiteX6" fmla="*/ 1306513 w 1306513"/>
                  <a:gd name="connsiteY6" fmla="*/ 1292409 h 1308100"/>
                  <a:gd name="connsiteX7" fmla="*/ 1290806 w 1306513"/>
                  <a:gd name="connsiteY7" fmla="*/ 1308100 h 1308100"/>
                  <a:gd name="connsiteX8" fmla="*/ 15706 w 1306513"/>
                  <a:gd name="connsiteY8" fmla="*/ 1308100 h 1308100"/>
                  <a:gd name="connsiteX9" fmla="*/ 0 w 1306513"/>
                  <a:gd name="connsiteY9" fmla="*/ 1292409 h 1308100"/>
                  <a:gd name="connsiteX10" fmla="*/ 0 w 1306513"/>
                  <a:gd name="connsiteY10" fmla="*/ 1220373 h 1308100"/>
                  <a:gd name="connsiteX11" fmla="*/ 15706 w 1306513"/>
                  <a:gd name="connsiteY11" fmla="*/ 1204682 h 1308100"/>
                  <a:gd name="connsiteX12" fmla="*/ 102807 w 1306513"/>
                  <a:gd name="connsiteY12" fmla="*/ 1204682 h 1308100"/>
                  <a:gd name="connsiteX13" fmla="*/ 102807 w 1306513"/>
                  <a:gd name="connsiteY13" fmla="*/ 1176153 h 1308100"/>
                  <a:gd name="connsiteX14" fmla="*/ 118514 w 1306513"/>
                  <a:gd name="connsiteY14" fmla="*/ 1160462 h 1308100"/>
                  <a:gd name="connsiteX15" fmla="*/ 907952 w 1306513"/>
                  <a:gd name="connsiteY15" fmla="*/ 933450 h 1308100"/>
                  <a:gd name="connsiteX16" fmla="*/ 996157 w 1306513"/>
                  <a:gd name="connsiteY16" fmla="*/ 933450 h 1308100"/>
                  <a:gd name="connsiteX17" fmla="*/ 1084362 w 1306513"/>
                  <a:gd name="connsiteY17" fmla="*/ 933450 h 1308100"/>
                  <a:gd name="connsiteX18" fmla="*/ 1100138 w 1306513"/>
                  <a:gd name="connsiteY18" fmla="*/ 948446 h 1308100"/>
                  <a:gd name="connsiteX19" fmla="*/ 1100138 w 1306513"/>
                  <a:gd name="connsiteY19" fmla="*/ 1036992 h 1308100"/>
                  <a:gd name="connsiteX20" fmla="*/ 1100138 w 1306513"/>
                  <a:gd name="connsiteY20" fmla="*/ 1125538 h 1308100"/>
                  <a:gd name="connsiteX21" fmla="*/ 892175 w 1306513"/>
                  <a:gd name="connsiteY21" fmla="*/ 1125538 h 1308100"/>
                  <a:gd name="connsiteX22" fmla="*/ 892175 w 1306513"/>
                  <a:gd name="connsiteY22" fmla="*/ 1036992 h 1308100"/>
                  <a:gd name="connsiteX23" fmla="*/ 892175 w 1306513"/>
                  <a:gd name="connsiteY23" fmla="*/ 948446 h 1308100"/>
                  <a:gd name="connsiteX24" fmla="*/ 907952 w 1306513"/>
                  <a:gd name="connsiteY24" fmla="*/ 933450 h 1308100"/>
                  <a:gd name="connsiteX25" fmla="*/ 668857 w 1306513"/>
                  <a:gd name="connsiteY25" fmla="*/ 933450 h 1308100"/>
                  <a:gd name="connsiteX26" fmla="*/ 757238 w 1306513"/>
                  <a:gd name="connsiteY26" fmla="*/ 933450 h 1308100"/>
                  <a:gd name="connsiteX27" fmla="*/ 845620 w 1306513"/>
                  <a:gd name="connsiteY27" fmla="*/ 933450 h 1308100"/>
                  <a:gd name="connsiteX28" fmla="*/ 862013 w 1306513"/>
                  <a:gd name="connsiteY28" fmla="*/ 948446 h 1308100"/>
                  <a:gd name="connsiteX29" fmla="*/ 862013 w 1306513"/>
                  <a:gd name="connsiteY29" fmla="*/ 1036992 h 1308100"/>
                  <a:gd name="connsiteX30" fmla="*/ 862013 w 1306513"/>
                  <a:gd name="connsiteY30" fmla="*/ 1125538 h 1308100"/>
                  <a:gd name="connsiteX31" fmla="*/ 652463 w 1306513"/>
                  <a:gd name="connsiteY31" fmla="*/ 1125538 h 1308100"/>
                  <a:gd name="connsiteX32" fmla="*/ 652463 w 1306513"/>
                  <a:gd name="connsiteY32" fmla="*/ 1036992 h 1308100"/>
                  <a:gd name="connsiteX33" fmla="*/ 652463 w 1306513"/>
                  <a:gd name="connsiteY33" fmla="*/ 948446 h 1308100"/>
                  <a:gd name="connsiteX34" fmla="*/ 668857 w 1306513"/>
                  <a:gd name="connsiteY34" fmla="*/ 933450 h 1308100"/>
                  <a:gd name="connsiteX35" fmla="*/ 907952 w 1306513"/>
                  <a:gd name="connsiteY35" fmla="*/ 692150 h 1308100"/>
                  <a:gd name="connsiteX36" fmla="*/ 996157 w 1306513"/>
                  <a:gd name="connsiteY36" fmla="*/ 692150 h 1308100"/>
                  <a:gd name="connsiteX37" fmla="*/ 1084362 w 1306513"/>
                  <a:gd name="connsiteY37" fmla="*/ 692150 h 1308100"/>
                  <a:gd name="connsiteX38" fmla="*/ 1100138 w 1306513"/>
                  <a:gd name="connsiteY38" fmla="*/ 707938 h 1308100"/>
                  <a:gd name="connsiteX39" fmla="*/ 1100138 w 1306513"/>
                  <a:gd name="connsiteY39" fmla="*/ 796925 h 1308100"/>
                  <a:gd name="connsiteX40" fmla="*/ 1100138 w 1306513"/>
                  <a:gd name="connsiteY40" fmla="*/ 885912 h 1308100"/>
                  <a:gd name="connsiteX41" fmla="*/ 1084362 w 1306513"/>
                  <a:gd name="connsiteY41" fmla="*/ 901700 h 1308100"/>
                  <a:gd name="connsiteX42" fmla="*/ 996157 w 1306513"/>
                  <a:gd name="connsiteY42" fmla="*/ 901700 h 1308100"/>
                  <a:gd name="connsiteX43" fmla="*/ 907952 w 1306513"/>
                  <a:gd name="connsiteY43" fmla="*/ 901700 h 1308100"/>
                  <a:gd name="connsiteX44" fmla="*/ 892175 w 1306513"/>
                  <a:gd name="connsiteY44" fmla="*/ 885912 h 1308100"/>
                  <a:gd name="connsiteX45" fmla="*/ 892175 w 1306513"/>
                  <a:gd name="connsiteY45" fmla="*/ 796925 h 1308100"/>
                  <a:gd name="connsiteX46" fmla="*/ 892175 w 1306513"/>
                  <a:gd name="connsiteY46" fmla="*/ 707938 h 1308100"/>
                  <a:gd name="connsiteX47" fmla="*/ 907952 w 1306513"/>
                  <a:gd name="connsiteY47" fmla="*/ 692150 h 1308100"/>
                  <a:gd name="connsiteX48" fmla="*/ 668857 w 1306513"/>
                  <a:gd name="connsiteY48" fmla="*/ 692150 h 1308100"/>
                  <a:gd name="connsiteX49" fmla="*/ 757238 w 1306513"/>
                  <a:gd name="connsiteY49" fmla="*/ 692150 h 1308100"/>
                  <a:gd name="connsiteX50" fmla="*/ 845620 w 1306513"/>
                  <a:gd name="connsiteY50" fmla="*/ 692150 h 1308100"/>
                  <a:gd name="connsiteX51" fmla="*/ 862013 w 1306513"/>
                  <a:gd name="connsiteY51" fmla="*/ 707938 h 1308100"/>
                  <a:gd name="connsiteX52" fmla="*/ 862013 w 1306513"/>
                  <a:gd name="connsiteY52" fmla="*/ 796925 h 1308100"/>
                  <a:gd name="connsiteX53" fmla="*/ 862013 w 1306513"/>
                  <a:gd name="connsiteY53" fmla="*/ 885912 h 1308100"/>
                  <a:gd name="connsiteX54" fmla="*/ 845620 w 1306513"/>
                  <a:gd name="connsiteY54" fmla="*/ 901700 h 1308100"/>
                  <a:gd name="connsiteX55" fmla="*/ 757238 w 1306513"/>
                  <a:gd name="connsiteY55" fmla="*/ 901700 h 1308100"/>
                  <a:gd name="connsiteX56" fmla="*/ 668857 w 1306513"/>
                  <a:gd name="connsiteY56" fmla="*/ 901700 h 1308100"/>
                  <a:gd name="connsiteX57" fmla="*/ 652463 w 1306513"/>
                  <a:gd name="connsiteY57" fmla="*/ 885912 h 1308100"/>
                  <a:gd name="connsiteX58" fmla="*/ 652463 w 1306513"/>
                  <a:gd name="connsiteY58" fmla="*/ 796925 h 1308100"/>
                  <a:gd name="connsiteX59" fmla="*/ 652463 w 1306513"/>
                  <a:gd name="connsiteY59" fmla="*/ 707938 h 1308100"/>
                  <a:gd name="connsiteX60" fmla="*/ 668857 w 1306513"/>
                  <a:gd name="connsiteY60" fmla="*/ 692150 h 1308100"/>
                  <a:gd name="connsiteX61" fmla="*/ 996157 w 1306513"/>
                  <a:gd name="connsiteY61" fmla="*/ 452437 h 1308100"/>
                  <a:gd name="connsiteX62" fmla="*/ 1100138 w 1306513"/>
                  <a:gd name="connsiteY62" fmla="*/ 505542 h 1308100"/>
                  <a:gd name="connsiteX63" fmla="*/ 1099426 w 1306513"/>
                  <a:gd name="connsiteY63" fmla="*/ 510566 h 1308100"/>
                  <a:gd name="connsiteX64" fmla="*/ 1099426 w 1306513"/>
                  <a:gd name="connsiteY64" fmla="*/ 511283 h 1308100"/>
                  <a:gd name="connsiteX65" fmla="*/ 1099426 w 1306513"/>
                  <a:gd name="connsiteY65" fmla="*/ 557930 h 1308100"/>
                  <a:gd name="connsiteX66" fmla="*/ 1099426 w 1306513"/>
                  <a:gd name="connsiteY66" fmla="*/ 646199 h 1308100"/>
                  <a:gd name="connsiteX67" fmla="*/ 1083758 w 1306513"/>
                  <a:gd name="connsiteY67" fmla="*/ 661987 h 1308100"/>
                  <a:gd name="connsiteX68" fmla="*/ 996157 w 1306513"/>
                  <a:gd name="connsiteY68" fmla="*/ 661987 h 1308100"/>
                  <a:gd name="connsiteX69" fmla="*/ 908556 w 1306513"/>
                  <a:gd name="connsiteY69" fmla="*/ 661987 h 1308100"/>
                  <a:gd name="connsiteX70" fmla="*/ 892887 w 1306513"/>
                  <a:gd name="connsiteY70" fmla="*/ 646199 h 1308100"/>
                  <a:gd name="connsiteX71" fmla="*/ 892887 w 1306513"/>
                  <a:gd name="connsiteY71" fmla="*/ 557930 h 1308100"/>
                  <a:gd name="connsiteX72" fmla="*/ 892887 w 1306513"/>
                  <a:gd name="connsiteY72" fmla="*/ 511283 h 1308100"/>
                  <a:gd name="connsiteX73" fmla="*/ 892887 w 1306513"/>
                  <a:gd name="connsiteY73" fmla="*/ 510566 h 1308100"/>
                  <a:gd name="connsiteX74" fmla="*/ 892175 w 1306513"/>
                  <a:gd name="connsiteY74" fmla="*/ 505542 h 1308100"/>
                  <a:gd name="connsiteX75" fmla="*/ 996157 w 1306513"/>
                  <a:gd name="connsiteY75" fmla="*/ 452437 h 1308100"/>
                  <a:gd name="connsiteX76" fmla="*/ 757951 w 1306513"/>
                  <a:gd name="connsiteY76" fmla="*/ 452437 h 1308100"/>
                  <a:gd name="connsiteX77" fmla="*/ 862013 w 1306513"/>
                  <a:gd name="connsiteY77" fmla="*/ 505542 h 1308100"/>
                  <a:gd name="connsiteX78" fmla="*/ 862013 w 1306513"/>
                  <a:gd name="connsiteY78" fmla="*/ 510566 h 1308100"/>
                  <a:gd name="connsiteX79" fmla="*/ 862013 w 1306513"/>
                  <a:gd name="connsiteY79" fmla="*/ 511283 h 1308100"/>
                  <a:gd name="connsiteX80" fmla="*/ 862013 w 1306513"/>
                  <a:gd name="connsiteY80" fmla="*/ 557930 h 1308100"/>
                  <a:gd name="connsiteX81" fmla="*/ 862013 w 1306513"/>
                  <a:gd name="connsiteY81" fmla="*/ 646199 h 1308100"/>
                  <a:gd name="connsiteX82" fmla="*/ 845620 w 1306513"/>
                  <a:gd name="connsiteY82" fmla="*/ 661987 h 1308100"/>
                  <a:gd name="connsiteX83" fmla="*/ 757238 w 1306513"/>
                  <a:gd name="connsiteY83" fmla="*/ 661987 h 1308100"/>
                  <a:gd name="connsiteX84" fmla="*/ 668857 w 1306513"/>
                  <a:gd name="connsiteY84" fmla="*/ 661987 h 1308100"/>
                  <a:gd name="connsiteX85" fmla="*/ 652463 w 1306513"/>
                  <a:gd name="connsiteY85" fmla="*/ 646199 h 1308100"/>
                  <a:gd name="connsiteX86" fmla="*/ 652463 w 1306513"/>
                  <a:gd name="connsiteY86" fmla="*/ 557930 h 1308100"/>
                  <a:gd name="connsiteX87" fmla="*/ 652463 w 1306513"/>
                  <a:gd name="connsiteY87" fmla="*/ 511283 h 1308100"/>
                  <a:gd name="connsiteX88" fmla="*/ 652463 w 1306513"/>
                  <a:gd name="connsiteY88" fmla="*/ 510566 h 1308100"/>
                  <a:gd name="connsiteX89" fmla="*/ 652463 w 1306513"/>
                  <a:gd name="connsiteY89" fmla="*/ 505542 h 1308100"/>
                  <a:gd name="connsiteX90" fmla="*/ 757951 w 1306513"/>
                  <a:gd name="connsiteY90" fmla="*/ 452437 h 1308100"/>
                  <a:gd name="connsiteX91" fmla="*/ 145762 w 1306513"/>
                  <a:gd name="connsiteY91" fmla="*/ 173037 h 1308100"/>
                  <a:gd name="connsiteX92" fmla="*/ 142876 w 1306513"/>
                  <a:gd name="connsiteY92" fmla="*/ 195906 h 1308100"/>
                  <a:gd name="connsiteX93" fmla="*/ 145041 w 1306513"/>
                  <a:gd name="connsiteY93" fmla="*/ 216632 h 1308100"/>
                  <a:gd name="connsiteX94" fmla="*/ 217200 w 1306513"/>
                  <a:gd name="connsiteY94" fmla="*/ 275949 h 1308100"/>
                  <a:gd name="connsiteX95" fmla="*/ 228745 w 1306513"/>
                  <a:gd name="connsiteY95" fmla="*/ 320259 h 1308100"/>
                  <a:gd name="connsiteX96" fmla="*/ 216478 w 1306513"/>
                  <a:gd name="connsiteY96" fmla="*/ 355277 h 1308100"/>
                  <a:gd name="connsiteX97" fmla="*/ 209262 w 1306513"/>
                  <a:gd name="connsiteY97" fmla="*/ 366712 h 1308100"/>
                  <a:gd name="connsiteX98" fmla="*/ 210705 w 1306513"/>
                  <a:gd name="connsiteY98" fmla="*/ 344557 h 1308100"/>
                  <a:gd name="connsiteX99" fmla="*/ 206376 w 1306513"/>
                  <a:gd name="connsiteY99" fmla="*/ 323117 h 1308100"/>
                  <a:gd name="connsiteX100" fmla="*/ 142154 w 1306513"/>
                  <a:gd name="connsiteY100" fmla="*/ 276664 h 1308100"/>
                  <a:gd name="connsiteX101" fmla="*/ 121228 w 1306513"/>
                  <a:gd name="connsiteY101" fmla="*/ 233784 h 1308100"/>
                  <a:gd name="connsiteX102" fmla="*/ 135660 w 1306513"/>
                  <a:gd name="connsiteY102" fmla="*/ 184472 h 1308100"/>
                  <a:gd name="connsiteX103" fmla="*/ 145762 w 1306513"/>
                  <a:gd name="connsiteY103" fmla="*/ 173037 h 1308100"/>
                  <a:gd name="connsiteX104" fmla="*/ 408906 w 1306513"/>
                  <a:gd name="connsiteY104" fmla="*/ 0 h 1308100"/>
                  <a:gd name="connsiteX105" fmla="*/ 406061 w 1306513"/>
                  <a:gd name="connsiteY105" fmla="*/ 22954 h 1308100"/>
                  <a:gd name="connsiteX106" fmla="*/ 408195 w 1306513"/>
                  <a:gd name="connsiteY106" fmla="*/ 43756 h 1308100"/>
                  <a:gd name="connsiteX107" fmla="*/ 479323 w 1306513"/>
                  <a:gd name="connsiteY107" fmla="*/ 102576 h 1308100"/>
                  <a:gd name="connsiteX108" fmla="*/ 490704 w 1306513"/>
                  <a:gd name="connsiteY108" fmla="*/ 147049 h 1308100"/>
                  <a:gd name="connsiteX109" fmla="*/ 478612 w 1306513"/>
                  <a:gd name="connsiteY109" fmla="*/ 182198 h 1308100"/>
                  <a:gd name="connsiteX110" fmla="*/ 471499 w 1306513"/>
                  <a:gd name="connsiteY110" fmla="*/ 193675 h 1308100"/>
                  <a:gd name="connsiteX111" fmla="*/ 472922 w 1306513"/>
                  <a:gd name="connsiteY111" fmla="*/ 171438 h 1308100"/>
                  <a:gd name="connsiteX112" fmla="*/ 468654 w 1306513"/>
                  <a:gd name="connsiteY112" fmla="*/ 149919 h 1308100"/>
                  <a:gd name="connsiteX113" fmla="*/ 405349 w 1306513"/>
                  <a:gd name="connsiteY113" fmla="*/ 103293 h 1308100"/>
                  <a:gd name="connsiteX114" fmla="*/ 384722 w 1306513"/>
                  <a:gd name="connsiteY114" fmla="*/ 60972 h 1308100"/>
                  <a:gd name="connsiteX115" fmla="*/ 398948 w 1306513"/>
                  <a:gd name="connsiteY115" fmla="*/ 11477 h 1308100"/>
                  <a:gd name="connsiteX116" fmla="*/ 408906 w 1306513"/>
                  <a:gd name="connsiteY116" fmla="*/ 0 h 130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</a:cxnLst>
                <a:rect l="l" t="t" r="r" b="b"/>
                <a:pathLst>
                  <a:path w="1306513" h="1308100">
                    <a:moveTo>
                      <a:pt x="118514" y="1160462"/>
                    </a:moveTo>
                    <a:cubicBezTo>
                      <a:pt x="118514" y="1160462"/>
                      <a:pt x="118514" y="1160462"/>
                      <a:pt x="1187999" y="1160462"/>
                    </a:cubicBezTo>
                    <a:cubicBezTo>
                      <a:pt x="1196566" y="1160462"/>
                      <a:pt x="1203706" y="1167594"/>
                      <a:pt x="1203706" y="1176153"/>
                    </a:cubicBezTo>
                    <a:cubicBezTo>
                      <a:pt x="1203706" y="1176153"/>
                      <a:pt x="1203706" y="1176153"/>
                      <a:pt x="1203706" y="1204682"/>
                    </a:cubicBezTo>
                    <a:cubicBezTo>
                      <a:pt x="1203706" y="1204682"/>
                      <a:pt x="1203706" y="1204682"/>
                      <a:pt x="1290806" y="1204682"/>
                    </a:cubicBezTo>
                    <a:cubicBezTo>
                      <a:pt x="1299374" y="1204682"/>
                      <a:pt x="1306513" y="1211814"/>
                      <a:pt x="1306513" y="1220373"/>
                    </a:cubicBezTo>
                    <a:cubicBezTo>
                      <a:pt x="1306513" y="1220373"/>
                      <a:pt x="1306513" y="1220373"/>
                      <a:pt x="1306513" y="1292409"/>
                    </a:cubicBezTo>
                    <a:cubicBezTo>
                      <a:pt x="1306513" y="1300968"/>
                      <a:pt x="1299374" y="1308100"/>
                      <a:pt x="1290806" y="1308100"/>
                    </a:cubicBezTo>
                    <a:cubicBezTo>
                      <a:pt x="1290806" y="1308100"/>
                      <a:pt x="1290806" y="1308100"/>
                      <a:pt x="15706" y="1308100"/>
                    </a:cubicBezTo>
                    <a:cubicBezTo>
                      <a:pt x="7139" y="1308100"/>
                      <a:pt x="0" y="1300968"/>
                      <a:pt x="0" y="1292409"/>
                    </a:cubicBezTo>
                    <a:cubicBezTo>
                      <a:pt x="0" y="1292409"/>
                      <a:pt x="0" y="1292409"/>
                      <a:pt x="0" y="1220373"/>
                    </a:cubicBezTo>
                    <a:cubicBezTo>
                      <a:pt x="0" y="1211814"/>
                      <a:pt x="7139" y="1204682"/>
                      <a:pt x="15706" y="1204682"/>
                    </a:cubicBezTo>
                    <a:cubicBezTo>
                      <a:pt x="15706" y="1204682"/>
                      <a:pt x="15706" y="1204682"/>
                      <a:pt x="102807" y="1204682"/>
                    </a:cubicBezTo>
                    <a:cubicBezTo>
                      <a:pt x="102807" y="1204682"/>
                      <a:pt x="102807" y="1204682"/>
                      <a:pt x="102807" y="1176153"/>
                    </a:cubicBezTo>
                    <a:cubicBezTo>
                      <a:pt x="102807" y="1167594"/>
                      <a:pt x="109947" y="1160462"/>
                      <a:pt x="118514" y="1160462"/>
                    </a:cubicBezTo>
                    <a:close/>
                    <a:moveTo>
                      <a:pt x="907952" y="933450"/>
                    </a:moveTo>
                    <a:cubicBezTo>
                      <a:pt x="907952" y="933450"/>
                      <a:pt x="907952" y="933450"/>
                      <a:pt x="996157" y="933450"/>
                    </a:cubicBezTo>
                    <a:cubicBezTo>
                      <a:pt x="996157" y="933450"/>
                      <a:pt x="996157" y="933450"/>
                      <a:pt x="1084362" y="933450"/>
                    </a:cubicBezTo>
                    <a:cubicBezTo>
                      <a:pt x="1093684" y="933450"/>
                      <a:pt x="1100138" y="940591"/>
                      <a:pt x="1100138" y="948446"/>
                    </a:cubicBezTo>
                    <a:cubicBezTo>
                      <a:pt x="1100138" y="948446"/>
                      <a:pt x="1100138" y="948446"/>
                      <a:pt x="1100138" y="1036992"/>
                    </a:cubicBezTo>
                    <a:cubicBezTo>
                      <a:pt x="1100138" y="1036992"/>
                      <a:pt x="1100138" y="1036992"/>
                      <a:pt x="1100138" y="1125538"/>
                    </a:cubicBezTo>
                    <a:cubicBezTo>
                      <a:pt x="892175" y="1125538"/>
                      <a:pt x="892175" y="1125538"/>
                      <a:pt x="892175" y="1125538"/>
                    </a:cubicBezTo>
                    <a:cubicBezTo>
                      <a:pt x="892175" y="1125538"/>
                      <a:pt x="892175" y="1125538"/>
                      <a:pt x="892175" y="1036992"/>
                    </a:cubicBezTo>
                    <a:cubicBezTo>
                      <a:pt x="892175" y="948446"/>
                      <a:pt x="892175" y="948446"/>
                      <a:pt x="892175" y="948446"/>
                    </a:cubicBezTo>
                    <a:cubicBezTo>
                      <a:pt x="892175" y="940591"/>
                      <a:pt x="898629" y="933450"/>
                      <a:pt x="907952" y="933450"/>
                    </a:cubicBezTo>
                    <a:close/>
                    <a:moveTo>
                      <a:pt x="668857" y="933450"/>
                    </a:moveTo>
                    <a:cubicBezTo>
                      <a:pt x="668857" y="933450"/>
                      <a:pt x="668857" y="933450"/>
                      <a:pt x="757238" y="933450"/>
                    </a:cubicBezTo>
                    <a:cubicBezTo>
                      <a:pt x="757238" y="933450"/>
                      <a:pt x="757238" y="933450"/>
                      <a:pt x="845620" y="933450"/>
                    </a:cubicBezTo>
                    <a:cubicBezTo>
                      <a:pt x="854886" y="933450"/>
                      <a:pt x="862013" y="940591"/>
                      <a:pt x="862013" y="948446"/>
                    </a:cubicBezTo>
                    <a:cubicBezTo>
                      <a:pt x="862013" y="948446"/>
                      <a:pt x="862013" y="948446"/>
                      <a:pt x="862013" y="1036992"/>
                    </a:cubicBezTo>
                    <a:cubicBezTo>
                      <a:pt x="862013" y="1036992"/>
                      <a:pt x="862013" y="1036992"/>
                      <a:pt x="862013" y="1125538"/>
                    </a:cubicBezTo>
                    <a:cubicBezTo>
                      <a:pt x="652463" y="1125538"/>
                      <a:pt x="652463" y="1125538"/>
                      <a:pt x="652463" y="1125538"/>
                    </a:cubicBezTo>
                    <a:cubicBezTo>
                      <a:pt x="652463" y="1125538"/>
                      <a:pt x="652463" y="1125538"/>
                      <a:pt x="652463" y="1036992"/>
                    </a:cubicBezTo>
                    <a:cubicBezTo>
                      <a:pt x="652463" y="948446"/>
                      <a:pt x="652463" y="948446"/>
                      <a:pt x="652463" y="948446"/>
                    </a:cubicBezTo>
                    <a:cubicBezTo>
                      <a:pt x="652463" y="940591"/>
                      <a:pt x="658878" y="933450"/>
                      <a:pt x="668857" y="933450"/>
                    </a:cubicBezTo>
                    <a:close/>
                    <a:moveTo>
                      <a:pt x="907952" y="692150"/>
                    </a:moveTo>
                    <a:cubicBezTo>
                      <a:pt x="907952" y="692150"/>
                      <a:pt x="907952" y="692150"/>
                      <a:pt x="996157" y="692150"/>
                    </a:cubicBezTo>
                    <a:cubicBezTo>
                      <a:pt x="996157" y="692150"/>
                      <a:pt x="996157" y="692150"/>
                      <a:pt x="1084362" y="692150"/>
                    </a:cubicBezTo>
                    <a:cubicBezTo>
                      <a:pt x="1093684" y="692150"/>
                      <a:pt x="1100138" y="699326"/>
                      <a:pt x="1100138" y="707938"/>
                    </a:cubicBezTo>
                    <a:cubicBezTo>
                      <a:pt x="1100138" y="707938"/>
                      <a:pt x="1100138" y="707938"/>
                      <a:pt x="1100138" y="796925"/>
                    </a:cubicBezTo>
                    <a:cubicBezTo>
                      <a:pt x="1100138" y="796925"/>
                      <a:pt x="1100138" y="796925"/>
                      <a:pt x="1100138" y="885912"/>
                    </a:cubicBezTo>
                    <a:cubicBezTo>
                      <a:pt x="1100138" y="894524"/>
                      <a:pt x="1093684" y="901700"/>
                      <a:pt x="1084362" y="901700"/>
                    </a:cubicBezTo>
                    <a:cubicBezTo>
                      <a:pt x="1084362" y="901700"/>
                      <a:pt x="1084362" y="901700"/>
                      <a:pt x="996157" y="901700"/>
                    </a:cubicBezTo>
                    <a:cubicBezTo>
                      <a:pt x="996157" y="901700"/>
                      <a:pt x="996157" y="901700"/>
                      <a:pt x="907952" y="901700"/>
                    </a:cubicBezTo>
                    <a:cubicBezTo>
                      <a:pt x="898629" y="901700"/>
                      <a:pt x="892175" y="894524"/>
                      <a:pt x="892175" y="885912"/>
                    </a:cubicBezTo>
                    <a:cubicBezTo>
                      <a:pt x="892175" y="885912"/>
                      <a:pt x="892175" y="885912"/>
                      <a:pt x="892175" y="796925"/>
                    </a:cubicBezTo>
                    <a:cubicBezTo>
                      <a:pt x="892175" y="796925"/>
                      <a:pt x="892175" y="796925"/>
                      <a:pt x="892175" y="707938"/>
                    </a:cubicBezTo>
                    <a:cubicBezTo>
                      <a:pt x="892175" y="699326"/>
                      <a:pt x="898629" y="692150"/>
                      <a:pt x="907952" y="692150"/>
                    </a:cubicBezTo>
                    <a:close/>
                    <a:moveTo>
                      <a:pt x="668857" y="692150"/>
                    </a:moveTo>
                    <a:cubicBezTo>
                      <a:pt x="668857" y="692150"/>
                      <a:pt x="668857" y="692150"/>
                      <a:pt x="757238" y="692150"/>
                    </a:cubicBezTo>
                    <a:cubicBezTo>
                      <a:pt x="757238" y="692150"/>
                      <a:pt x="757238" y="692150"/>
                      <a:pt x="845620" y="692150"/>
                    </a:cubicBezTo>
                    <a:cubicBezTo>
                      <a:pt x="854886" y="692150"/>
                      <a:pt x="862013" y="699326"/>
                      <a:pt x="862013" y="707938"/>
                    </a:cubicBezTo>
                    <a:cubicBezTo>
                      <a:pt x="862013" y="707938"/>
                      <a:pt x="862013" y="707938"/>
                      <a:pt x="862013" y="796925"/>
                    </a:cubicBezTo>
                    <a:cubicBezTo>
                      <a:pt x="862013" y="796925"/>
                      <a:pt x="862013" y="796925"/>
                      <a:pt x="862013" y="885912"/>
                    </a:cubicBezTo>
                    <a:cubicBezTo>
                      <a:pt x="862013" y="894524"/>
                      <a:pt x="854886" y="901700"/>
                      <a:pt x="845620" y="901700"/>
                    </a:cubicBezTo>
                    <a:cubicBezTo>
                      <a:pt x="845620" y="901700"/>
                      <a:pt x="845620" y="901700"/>
                      <a:pt x="757238" y="901700"/>
                    </a:cubicBezTo>
                    <a:cubicBezTo>
                      <a:pt x="757238" y="901700"/>
                      <a:pt x="757238" y="901700"/>
                      <a:pt x="668857" y="901700"/>
                    </a:cubicBezTo>
                    <a:cubicBezTo>
                      <a:pt x="658878" y="901700"/>
                      <a:pt x="652463" y="894524"/>
                      <a:pt x="652463" y="885912"/>
                    </a:cubicBezTo>
                    <a:cubicBezTo>
                      <a:pt x="652463" y="885912"/>
                      <a:pt x="652463" y="885912"/>
                      <a:pt x="652463" y="796925"/>
                    </a:cubicBezTo>
                    <a:cubicBezTo>
                      <a:pt x="652463" y="796925"/>
                      <a:pt x="652463" y="796925"/>
                      <a:pt x="652463" y="707938"/>
                    </a:cubicBezTo>
                    <a:cubicBezTo>
                      <a:pt x="652463" y="699326"/>
                      <a:pt x="658878" y="692150"/>
                      <a:pt x="668857" y="692150"/>
                    </a:cubicBezTo>
                    <a:close/>
                    <a:moveTo>
                      <a:pt x="996157" y="452437"/>
                    </a:moveTo>
                    <a:cubicBezTo>
                      <a:pt x="1053133" y="452437"/>
                      <a:pt x="1100138" y="476119"/>
                      <a:pt x="1100138" y="505542"/>
                    </a:cubicBezTo>
                    <a:cubicBezTo>
                      <a:pt x="1100138" y="507695"/>
                      <a:pt x="1100138" y="509130"/>
                      <a:pt x="1099426" y="510566"/>
                    </a:cubicBezTo>
                    <a:cubicBezTo>
                      <a:pt x="1099426" y="510566"/>
                      <a:pt x="1099426" y="510566"/>
                      <a:pt x="1099426" y="511283"/>
                    </a:cubicBezTo>
                    <a:cubicBezTo>
                      <a:pt x="1099426" y="520613"/>
                      <a:pt x="1099426" y="534248"/>
                      <a:pt x="1099426" y="557930"/>
                    </a:cubicBezTo>
                    <a:cubicBezTo>
                      <a:pt x="1099426" y="557930"/>
                      <a:pt x="1099426" y="557930"/>
                      <a:pt x="1099426" y="646199"/>
                    </a:cubicBezTo>
                    <a:cubicBezTo>
                      <a:pt x="1099426" y="655528"/>
                      <a:pt x="1093016" y="661987"/>
                      <a:pt x="1083758" y="661987"/>
                    </a:cubicBezTo>
                    <a:cubicBezTo>
                      <a:pt x="1083758" y="661987"/>
                      <a:pt x="1083758" y="661987"/>
                      <a:pt x="996157" y="661987"/>
                    </a:cubicBezTo>
                    <a:cubicBezTo>
                      <a:pt x="996157" y="661987"/>
                      <a:pt x="996157" y="661987"/>
                      <a:pt x="908556" y="661987"/>
                    </a:cubicBezTo>
                    <a:cubicBezTo>
                      <a:pt x="899297" y="661987"/>
                      <a:pt x="892887" y="655528"/>
                      <a:pt x="892887" y="646199"/>
                    </a:cubicBezTo>
                    <a:cubicBezTo>
                      <a:pt x="892887" y="646199"/>
                      <a:pt x="892887" y="646199"/>
                      <a:pt x="892887" y="557930"/>
                    </a:cubicBezTo>
                    <a:cubicBezTo>
                      <a:pt x="892887" y="557930"/>
                      <a:pt x="892887" y="557930"/>
                      <a:pt x="892887" y="511283"/>
                    </a:cubicBezTo>
                    <a:cubicBezTo>
                      <a:pt x="892887" y="511283"/>
                      <a:pt x="892887" y="511283"/>
                      <a:pt x="892887" y="510566"/>
                    </a:cubicBezTo>
                    <a:cubicBezTo>
                      <a:pt x="892887" y="509130"/>
                      <a:pt x="892175" y="507695"/>
                      <a:pt x="892175" y="505542"/>
                    </a:cubicBezTo>
                    <a:cubicBezTo>
                      <a:pt x="892175" y="476119"/>
                      <a:pt x="939181" y="452437"/>
                      <a:pt x="996157" y="452437"/>
                    </a:cubicBezTo>
                    <a:close/>
                    <a:moveTo>
                      <a:pt x="757951" y="452437"/>
                    </a:moveTo>
                    <a:cubicBezTo>
                      <a:pt x="815684" y="452437"/>
                      <a:pt x="862013" y="476119"/>
                      <a:pt x="862013" y="505542"/>
                    </a:cubicBezTo>
                    <a:cubicBezTo>
                      <a:pt x="862013" y="507695"/>
                      <a:pt x="862013" y="509130"/>
                      <a:pt x="862013" y="510566"/>
                    </a:cubicBezTo>
                    <a:cubicBezTo>
                      <a:pt x="862013" y="510566"/>
                      <a:pt x="862013" y="510566"/>
                      <a:pt x="862013" y="511283"/>
                    </a:cubicBezTo>
                    <a:cubicBezTo>
                      <a:pt x="862013" y="520613"/>
                      <a:pt x="862013" y="534248"/>
                      <a:pt x="862013" y="557930"/>
                    </a:cubicBezTo>
                    <a:cubicBezTo>
                      <a:pt x="862013" y="557930"/>
                      <a:pt x="862013" y="557930"/>
                      <a:pt x="862013" y="646199"/>
                    </a:cubicBezTo>
                    <a:cubicBezTo>
                      <a:pt x="862013" y="655528"/>
                      <a:pt x="854886" y="661987"/>
                      <a:pt x="845620" y="661987"/>
                    </a:cubicBezTo>
                    <a:cubicBezTo>
                      <a:pt x="845620" y="661987"/>
                      <a:pt x="845620" y="661987"/>
                      <a:pt x="757238" y="661987"/>
                    </a:cubicBezTo>
                    <a:cubicBezTo>
                      <a:pt x="757238" y="661987"/>
                      <a:pt x="757238" y="661987"/>
                      <a:pt x="668857" y="661987"/>
                    </a:cubicBezTo>
                    <a:cubicBezTo>
                      <a:pt x="658878" y="661987"/>
                      <a:pt x="652463" y="655528"/>
                      <a:pt x="652463" y="646199"/>
                    </a:cubicBezTo>
                    <a:cubicBezTo>
                      <a:pt x="652463" y="646199"/>
                      <a:pt x="652463" y="646199"/>
                      <a:pt x="652463" y="557930"/>
                    </a:cubicBezTo>
                    <a:cubicBezTo>
                      <a:pt x="652463" y="557930"/>
                      <a:pt x="652463" y="557930"/>
                      <a:pt x="652463" y="511283"/>
                    </a:cubicBezTo>
                    <a:cubicBezTo>
                      <a:pt x="652463" y="511283"/>
                      <a:pt x="652463" y="511283"/>
                      <a:pt x="652463" y="510566"/>
                    </a:cubicBezTo>
                    <a:cubicBezTo>
                      <a:pt x="652463" y="509130"/>
                      <a:pt x="652463" y="507695"/>
                      <a:pt x="652463" y="505542"/>
                    </a:cubicBezTo>
                    <a:cubicBezTo>
                      <a:pt x="652463" y="476119"/>
                      <a:pt x="698792" y="452437"/>
                      <a:pt x="757951" y="452437"/>
                    </a:cubicBezTo>
                    <a:close/>
                    <a:moveTo>
                      <a:pt x="145762" y="173037"/>
                    </a:moveTo>
                    <a:cubicBezTo>
                      <a:pt x="145041" y="180184"/>
                      <a:pt x="144319" y="188045"/>
                      <a:pt x="142876" y="195906"/>
                    </a:cubicBezTo>
                    <a:cubicBezTo>
                      <a:pt x="142154" y="205197"/>
                      <a:pt x="144319" y="213059"/>
                      <a:pt x="145041" y="216632"/>
                    </a:cubicBezTo>
                    <a:cubicBezTo>
                      <a:pt x="150813" y="243075"/>
                      <a:pt x="194830" y="240931"/>
                      <a:pt x="217200" y="275949"/>
                    </a:cubicBezTo>
                    <a:cubicBezTo>
                      <a:pt x="230188" y="295245"/>
                      <a:pt x="229467" y="316685"/>
                      <a:pt x="228745" y="320259"/>
                    </a:cubicBezTo>
                    <a:cubicBezTo>
                      <a:pt x="227302" y="336696"/>
                      <a:pt x="220808" y="348845"/>
                      <a:pt x="216478" y="355277"/>
                    </a:cubicBezTo>
                    <a:cubicBezTo>
                      <a:pt x="216478" y="355277"/>
                      <a:pt x="216478" y="355277"/>
                      <a:pt x="209262" y="366712"/>
                    </a:cubicBezTo>
                    <a:cubicBezTo>
                      <a:pt x="209262" y="359565"/>
                      <a:pt x="209262" y="351704"/>
                      <a:pt x="210705" y="344557"/>
                    </a:cubicBezTo>
                    <a:cubicBezTo>
                      <a:pt x="210705" y="333123"/>
                      <a:pt x="207097" y="325976"/>
                      <a:pt x="206376" y="323117"/>
                    </a:cubicBezTo>
                    <a:cubicBezTo>
                      <a:pt x="197717" y="300248"/>
                      <a:pt x="166688" y="303821"/>
                      <a:pt x="142154" y="276664"/>
                    </a:cubicBezTo>
                    <a:cubicBezTo>
                      <a:pt x="136381" y="271661"/>
                      <a:pt x="122671" y="256653"/>
                      <a:pt x="121228" y="233784"/>
                    </a:cubicBezTo>
                    <a:cubicBezTo>
                      <a:pt x="119063" y="209485"/>
                      <a:pt x="132773" y="188045"/>
                      <a:pt x="135660" y="184472"/>
                    </a:cubicBezTo>
                    <a:cubicBezTo>
                      <a:pt x="138546" y="179469"/>
                      <a:pt x="142876" y="175181"/>
                      <a:pt x="145762" y="173037"/>
                    </a:cubicBezTo>
                    <a:close/>
                    <a:moveTo>
                      <a:pt x="408906" y="0"/>
                    </a:moveTo>
                    <a:cubicBezTo>
                      <a:pt x="408195" y="7173"/>
                      <a:pt x="407483" y="15063"/>
                      <a:pt x="406061" y="22954"/>
                    </a:cubicBezTo>
                    <a:cubicBezTo>
                      <a:pt x="405349" y="32279"/>
                      <a:pt x="407483" y="40170"/>
                      <a:pt x="408195" y="43756"/>
                    </a:cubicBezTo>
                    <a:cubicBezTo>
                      <a:pt x="413885" y="70297"/>
                      <a:pt x="457273" y="68145"/>
                      <a:pt x="479323" y="102576"/>
                    </a:cubicBezTo>
                    <a:cubicBezTo>
                      <a:pt x="492126" y="121943"/>
                      <a:pt x="491415" y="143463"/>
                      <a:pt x="490704" y="147049"/>
                    </a:cubicBezTo>
                    <a:cubicBezTo>
                      <a:pt x="489281" y="163548"/>
                      <a:pt x="482880" y="175742"/>
                      <a:pt x="478612" y="182198"/>
                    </a:cubicBezTo>
                    <a:cubicBezTo>
                      <a:pt x="478612" y="182198"/>
                      <a:pt x="478612" y="182198"/>
                      <a:pt x="471499" y="193675"/>
                    </a:cubicBezTo>
                    <a:cubicBezTo>
                      <a:pt x="471499" y="186502"/>
                      <a:pt x="471499" y="178612"/>
                      <a:pt x="472922" y="171438"/>
                    </a:cubicBezTo>
                    <a:cubicBezTo>
                      <a:pt x="472922" y="159961"/>
                      <a:pt x="469365" y="152788"/>
                      <a:pt x="468654" y="149919"/>
                    </a:cubicBezTo>
                    <a:cubicBezTo>
                      <a:pt x="460118" y="126965"/>
                      <a:pt x="429533" y="130551"/>
                      <a:pt x="405349" y="103293"/>
                    </a:cubicBezTo>
                    <a:cubicBezTo>
                      <a:pt x="399659" y="98272"/>
                      <a:pt x="386145" y="83926"/>
                      <a:pt x="384722" y="60972"/>
                    </a:cubicBezTo>
                    <a:cubicBezTo>
                      <a:pt x="382588" y="36583"/>
                      <a:pt x="396103" y="15063"/>
                      <a:pt x="398948" y="11477"/>
                    </a:cubicBezTo>
                    <a:cubicBezTo>
                      <a:pt x="401793" y="6456"/>
                      <a:pt x="406061" y="2152"/>
                      <a:pt x="40890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>
                  <a:sym typeface="Trebuchet MS" panose="020B0603020202020204" pitchFamily="34" charset="0"/>
                </a:endParaRPr>
              </a:p>
            </p:txBody>
          </p:sp>
        </p:grp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582C8A58-E90F-4E8B-899A-1AD04A1154D9}"/>
              </a:ext>
            </a:extLst>
          </p:cNvPr>
          <p:cNvSpPr/>
          <p:nvPr/>
        </p:nvSpPr>
        <p:spPr>
          <a:xfrm>
            <a:off x="1294959" y="4298817"/>
            <a:ext cx="1033986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200" b="1" dirty="0">
                <a:solidFill>
                  <a:srgbClr val="575757"/>
                </a:solidFill>
                <a:sym typeface="Trebuchet MS" panose="020B0603020202020204" pitchFamily="34" charset="0"/>
              </a:rPr>
              <a:t>Road equipment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C539E047-D70E-4451-86E8-C17831858ECB}"/>
              </a:ext>
            </a:extLst>
          </p:cNvPr>
          <p:cNvGrpSpPr>
            <a:grpSpLocks noChangeAspect="1"/>
          </p:cNvGrpSpPr>
          <p:nvPr/>
        </p:nvGrpSpPr>
        <p:grpSpPr>
          <a:xfrm>
            <a:off x="630000" y="3591361"/>
            <a:ext cx="475937" cy="476250"/>
            <a:chOff x="5273675" y="2606675"/>
            <a:chExt cx="1644650" cy="1646238"/>
          </a:xfrm>
        </p:grpSpPr>
        <p:sp>
          <p:nvSpPr>
            <p:cNvPr id="40" name="AutoShape 3">
              <a:extLst>
                <a:ext uri="{FF2B5EF4-FFF2-40B4-BE49-F238E27FC236}">
                  <a16:creationId xmlns:a16="http://schemas.microsoft.com/office/drawing/2014/main" id="{28D68C49-DDA6-4537-9369-C0B03B91EC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6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ym typeface="Trebuchet MS" panose="020B0603020202020204" pitchFamily="34" charset="0"/>
              </a:endParaRP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A1313E63-A6E4-489A-8160-D4EFBA633374}"/>
                </a:ext>
              </a:extLst>
            </p:cNvPr>
            <p:cNvGrpSpPr/>
            <p:nvPr/>
          </p:nvGrpSpPr>
          <p:grpSpPr>
            <a:xfrm>
              <a:off x="5659454" y="2879725"/>
              <a:ext cx="858948" cy="1092200"/>
              <a:chOff x="5659454" y="2879725"/>
              <a:chExt cx="858948" cy="1092200"/>
            </a:xfrm>
          </p:grpSpPr>
          <p:sp>
            <p:nvSpPr>
              <p:cNvPr id="42" name="Freeform 18">
                <a:extLst>
                  <a:ext uri="{FF2B5EF4-FFF2-40B4-BE49-F238E27FC236}">
                    <a16:creationId xmlns:a16="http://schemas.microsoft.com/office/drawing/2014/main" id="{DC437375-6C74-4DAC-8E9B-F2DE8054A3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9454" y="2879725"/>
                <a:ext cx="858948" cy="1092200"/>
              </a:xfrm>
              <a:custGeom>
                <a:avLst/>
                <a:gdLst>
                  <a:gd name="connsiteX0" fmla="*/ 69462 w 858948"/>
                  <a:gd name="connsiteY0" fmla="*/ 973138 h 1092200"/>
                  <a:gd name="connsiteX1" fmla="*/ 54486 w 858948"/>
                  <a:gd name="connsiteY1" fmla="*/ 985305 h 1092200"/>
                  <a:gd name="connsiteX2" fmla="*/ 40224 w 858948"/>
                  <a:gd name="connsiteY2" fmla="*/ 1041128 h 1092200"/>
                  <a:gd name="connsiteX3" fmla="*/ 55913 w 858948"/>
                  <a:gd name="connsiteY3" fmla="*/ 1060451 h 1092200"/>
                  <a:gd name="connsiteX4" fmla="*/ 85865 w 858948"/>
                  <a:gd name="connsiteY4" fmla="*/ 1060451 h 1092200"/>
                  <a:gd name="connsiteX5" fmla="*/ 85865 w 858948"/>
                  <a:gd name="connsiteY5" fmla="*/ 1059735 h 1092200"/>
                  <a:gd name="connsiteX6" fmla="*/ 107259 w 858948"/>
                  <a:gd name="connsiteY6" fmla="*/ 1038265 h 1092200"/>
                  <a:gd name="connsiteX7" fmla="*/ 128653 w 858948"/>
                  <a:gd name="connsiteY7" fmla="*/ 1059735 h 1092200"/>
                  <a:gd name="connsiteX8" fmla="*/ 128653 w 858948"/>
                  <a:gd name="connsiteY8" fmla="*/ 1060451 h 1092200"/>
                  <a:gd name="connsiteX9" fmla="*/ 165736 w 858948"/>
                  <a:gd name="connsiteY9" fmla="*/ 1060451 h 1092200"/>
                  <a:gd name="connsiteX10" fmla="*/ 165736 w 858948"/>
                  <a:gd name="connsiteY10" fmla="*/ 1059735 h 1092200"/>
                  <a:gd name="connsiteX11" fmla="*/ 187131 w 858948"/>
                  <a:gd name="connsiteY11" fmla="*/ 1038265 h 1092200"/>
                  <a:gd name="connsiteX12" fmla="*/ 209238 w 858948"/>
                  <a:gd name="connsiteY12" fmla="*/ 1059735 h 1092200"/>
                  <a:gd name="connsiteX13" fmla="*/ 209238 w 858948"/>
                  <a:gd name="connsiteY13" fmla="*/ 1060451 h 1092200"/>
                  <a:gd name="connsiteX14" fmla="*/ 246321 w 858948"/>
                  <a:gd name="connsiteY14" fmla="*/ 1060451 h 1092200"/>
                  <a:gd name="connsiteX15" fmla="*/ 246321 w 858948"/>
                  <a:gd name="connsiteY15" fmla="*/ 1059735 h 1092200"/>
                  <a:gd name="connsiteX16" fmla="*/ 268429 w 858948"/>
                  <a:gd name="connsiteY16" fmla="*/ 1038265 h 1092200"/>
                  <a:gd name="connsiteX17" fmla="*/ 289823 w 858948"/>
                  <a:gd name="connsiteY17" fmla="*/ 1059735 h 1092200"/>
                  <a:gd name="connsiteX18" fmla="*/ 289823 w 858948"/>
                  <a:gd name="connsiteY18" fmla="*/ 1060451 h 1092200"/>
                  <a:gd name="connsiteX19" fmla="*/ 326906 w 858948"/>
                  <a:gd name="connsiteY19" fmla="*/ 1060451 h 1092200"/>
                  <a:gd name="connsiteX20" fmla="*/ 326906 w 858948"/>
                  <a:gd name="connsiteY20" fmla="*/ 1059735 h 1092200"/>
                  <a:gd name="connsiteX21" fmla="*/ 349014 w 858948"/>
                  <a:gd name="connsiteY21" fmla="*/ 1038265 h 1092200"/>
                  <a:gd name="connsiteX22" fmla="*/ 370408 w 858948"/>
                  <a:gd name="connsiteY22" fmla="*/ 1059735 h 1092200"/>
                  <a:gd name="connsiteX23" fmla="*/ 370408 w 858948"/>
                  <a:gd name="connsiteY23" fmla="*/ 1060451 h 1092200"/>
                  <a:gd name="connsiteX24" fmla="*/ 407491 w 858948"/>
                  <a:gd name="connsiteY24" fmla="*/ 1060451 h 1092200"/>
                  <a:gd name="connsiteX25" fmla="*/ 407491 w 858948"/>
                  <a:gd name="connsiteY25" fmla="*/ 1059735 h 1092200"/>
                  <a:gd name="connsiteX26" fmla="*/ 429599 w 858948"/>
                  <a:gd name="connsiteY26" fmla="*/ 1038265 h 1092200"/>
                  <a:gd name="connsiteX27" fmla="*/ 450993 w 858948"/>
                  <a:gd name="connsiteY27" fmla="*/ 1059735 h 1092200"/>
                  <a:gd name="connsiteX28" fmla="*/ 450993 w 858948"/>
                  <a:gd name="connsiteY28" fmla="*/ 1060451 h 1092200"/>
                  <a:gd name="connsiteX29" fmla="*/ 487363 w 858948"/>
                  <a:gd name="connsiteY29" fmla="*/ 1060451 h 1092200"/>
                  <a:gd name="connsiteX30" fmla="*/ 487363 w 858948"/>
                  <a:gd name="connsiteY30" fmla="*/ 1059735 h 1092200"/>
                  <a:gd name="connsiteX31" fmla="*/ 509470 w 858948"/>
                  <a:gd name="connsiteY31" fmla="*/ 1038265 h 1092200"/>
                  <a:gd name="connsiteX32" fmla="*/ 531578 w 858948"/>
                  <a:gd name="connsiteY32" fmla="*/ 1059735 h 1092200"/>
                  <a:gd name="connsiteX33" fmla="*/ 531578 w 858948"/>
                  <a:gd name="connsiteY33" fmla="*/ 1060451 h 1092200"/>
                  <a:gd name="connsiteX34" fmla="*/ 568661 w 858948"/>
                  <a:gd name="connsiteY34" fmla="*/ 1060451 h 1092200"/>
                  <a:gd name="connsiteX35" fmla="*/ 568661 w 858948"/>
                  <a:gd name="connsiteY35" fmla="*/ 1059735 h 1092200"/>
                  <a:gd name="connsiteX36" fmla="*/ 590055 w 858948"/>
                  <a:gd name="connsiteY36" fmla="*/ 1038265 h 1092200"/>
                  <a:gd name="connsiteX37" fmla="*/ 612163 w 858948"/>
                  <a:gd name="connsiteY37" fmla="*/ 1059735 h 1092200"/>
                  <a:gd name="connsiteX38" fmla="*/ 612163 w 858948"/>
                  <a:gd name="connsiteY38" fmla="*/ 1060451 h 1092200"/>
                  <a:gd name="connsiteX39" fmla="*/ 649246 w 858948"/>
                  <a:gd name="connsiteY39" fmla="*/ 1060451 h 1092200"/>
                  <a:gd name="connsiteX40" fmla="*/ 649246 w 858948"/>
                  <a:gd name="connsiteY40" fmla="*/ 1059735 h 1092200"/>
                  <a:gd name="connsiteX41" fmla="*/ 670640 w 858948"/>
                  <a:gd name="connsiteY41" fmla="*/ 1038265 h 1092200"/>
                  <a:gd name="connsiteX42" fmla="*/ 692748 w 858948"/>
                  <a:gd name="connsiteY42" fmla="*/ 1059735 h 1092200"/>
                  <a:gd name="connsiteX43" fmla="*/ 692748 w 858948"/>
                  <a:gd name="connsiteY43" fmla="*/ 1060451 h 1092200"/>
                  <a:gd name="connsiteX44" fmla="*/ 729831 w 858948"/>
                  <a:gd name="connsiteY44" fmla="*/ 1060451 h 1092200"/>
                  <a:gd name="connsiteX45" fmla="*/ 729831 w 858948"/>
                  <a:gd name="connsiteY45" fmla="*/ 1059735 h 1092200"/>
                  <a:gd name="connsiteX46" fmla="*/ 751938 w 858948"/>
                  <a:gd name="connsiteY46" fmla="*/ 1038265 h 1092200"/>
                  <a:gd name="connsiteX47" fmla="*/ 772619 w 858948"/>
                  <a:gd name="connsiteY47" fmla="*/ 1059735 h 1092200"/>
                  <a:gd name="connsiteX48" fmla="*/ 772619 w 858948"/>
                  <a:gd name="connsiteY48" fmla="*/ 1060451 h 1092200"/>
                  <a:gd name="connsiteX49" fmla="*/ 799719 w 858948"/>
                  <a:gd name="connsiteY49" fmla="*/ 1060451 h 1092200"/>
                  <a:gd name="connsiteX50" fmla="*/ 814695 w 858948"/>
                  <a:gd name="connsiteY50" fmla="*/ 1039696 h 1092200"/>
                  <a:gd name="connsiteX51" fmla="*/ 795440 w 858948"/>
                  <a:gd name="connsiteY51" fmla="*/ 983873 h 1092200"/>
                  <a:gd name="connsiteX52" fmla="*/ 781177 w 858948"/>
                  <a:gd name="connsiteY52" fmla="*/ 973138 h 1092200"/>
                  <a:gd name="connsiteX53" fmla="*/ 69462 w 858948"/>
                  <a:gd name="connsiteY53" fmla="*/ 973138 h 1092200"/>
                  <a:gd name="connsiteX54" fmla="*/ 49758 w 858948"/>
                  <a:gd name="connsiteY54" fmla="*/ 688975 h 1092200"/>
                  <a:gd name="connsiteX55" fmla="*/ 34036 w 858948"/>
                  <a:gd name="connsiteY55" fmla="*/ 705375 h 1092200"/>
                  <a:gd name="connsiteX56" fmla="*/ 55476 w 858948"/>
                  <a:gd name="connsiteY56" fmla="*/ 928554 h 1092200"/>
                  <a:gd name="connsiteX57" fmla="*/ 71198 w 858948"/>
                  <a:gd name="connsiteY57" fmla="*/ 941388 h 1092200"/>
                  <a:gd name="connsiteX58" fmla="*/ 779429 w 858948"/>
                  <a:gd name="connsiteY58" fmla="*/ 941388 h 1092200"/>
                  <a:gd name="connsiteX59" fmla="*/ 795152 w 858948"/>
                  <a:gd name="connsiteY59" fmla="*/ 928554 h 1092200"/>
                  <a:gd name="connsiteX60" fmla="*/ 821595 w 858948"/>
                  <a:gd name="connsiteY60" fmla="*/ 706088 h 1092200"/>
                  <a:gd name="connsiteX61" fmla="*/ 805872 w 858948"/>
                  <a:gd name="connsiteY61" fmla="*/ 688975 h 1092200"/>
                  <a:gd name="connsiteX62" fmla="*/ 49758 w 858948"/>
                  <a:gd name="connsiteY62" fmla="*/ 688975 h 1092200"/>
                  <a:gd name="connsiteX63" fmla="*/ 48696 w 858948"/>
                  <a:gd name="connsiteY63" fmla="*/ 434975 h 1092200"/>
                  <a:gd name="connsiteX64" fmla="*/ 33000 w 858948"/>
                  <a:gd name="connsiteY64" fmla="*/ 449982 h 1092200"/>
                  <a:gd name="connsiteX65" fmla="*/ 31573 w 858948"/>
                  <a:gd name="connsiteY65" fmla="*/ 642218 h 1092200"/>
                  <a:gd name="connsiteX66" fmla="*/ 47269 w 858948"/>
                  <a:gd name="connsiteY66" fmla="*/ 657225 h 1092200"/>
                  <a:gd name="connsiteX67" fmla="*/ 808521 w 858948"/>
                  <a:gd name="connsiteY67" fmla="*/ 657225 h 1092200"/>
                  <a:gd name="connsiteX68" fmla="*/ 824217 w 858948"/>
                  <a:gd name="connsiteY68" fmla="*/ 642218 h 1092200"/>
                  <a:gd name="connsiteX69" fmla="*/ 824217 w 858948"/>
                  <a:gd name="connsiteY69" fmla="*/ 449982 h 1092200"/>
                  <a:gd name="connsiteX70" fmla="*/ 808521 w 858948"/>
                  <a:gd name="connsiteY70" fmla="*/ 434975 h 1092200"/>
                  <a:gd name="connsiteX71" fmla="*/ 57774 w 858948"/>
                  <a:gd name="connsiteY71" fmla="*/ 150813 h 1092200"/>
                  <a:gd name="connsiteX72" fmla="*/ 35624 w 858948"/>
                  <a:gd name="connsiteY72" fmla="*/ 386826 h 1092200"/>
                  <a:gd name="connsiteX73" fmla="*/ 51343 w 858948"/>
                  <a:gd name="connsiteY73" fmla="*/ 403226 h 1092200"/>
                  <a:gd name="connsiteX74" fmla="*/ 805875 w 858948"/>
                  <a:gd name="connsiteY74" fmla="*/ 403226 h 1092200"/>
                  <a:gd name="connsiteX75" fmla="*/ 821595 w 858948"/>
                  <a:gd name="connsiteY75" fmla="*/ 386826 h 1092200"/>
                  <a:gd name="connsiteX76" fmla="*/ 794443 w 858948"/>
                  <a:gd name="connsiteY76" fmla="*/ 163648 h 1092200"/>
                  <a:gd name="connsiteX77" fmla="*/ 778724 w 858948"/>
                  <a:gd name="connsiteY77" fmla="*/ 150813 h 1092200"/>
                  <a:gd name="connsiteX78" fmla="*/ 57774 w 858948"/>
                  <a:gd name="connsiteY78" fmla="*/ 150813 h 1092200"/>
                  <a:gd name="connsiteX79" fmla="*/ 55913 w 858948"/>
                  <a:gd name="connsiteY79" fmla="*/ 31750 h 1092200"/>
                  <a:gd name="connsiteX80" fmla="*/ 40224 w 858948"/>
                  <a:gd name="connsiteY80" fmla="*/ 51073 h 1092200"/>
                  <a:gd name="connsiteX81" fmla="*/ 54486 w 858948"/>
                  <a:gd name="connsiteY81" fmla="*/ 106897 h 1092200"/>
                  <a:gd name="connsiteX82" fmla="*/ 69462 w 858948"/>
                  <a:gd name="connsiteY82" fmla="*/ 119063 h 1092200"/>
                  <a:gd name="connsiteX83" fmla="*/ 781177 w 858948"/>
                  <a:gd name="connsiteY83" fmla="*/ 119063 h 1092200"/>
                  <a:gd name="connsiteX84" fmla="*/ 795440 w 858948"/>
                  <a:gd name="connsiteY84" fmla="*/ 108328 h 1092200"/>
                  <a:gd name="connsiteX85" fmla="*/ 814695 w 858948"/>
                  <a:gd name="connsiteY85" fmla="*/ 52505 h 1092200"/>
                  <a:gd name="connsiteX86" fmla="*/ 799719 w 858948"/>
                  <a:gd name="connsiteY86" fmla="*/ 31750 h 1092200"/>
                  <a:gd name="connsiteX87" fmla="*/ 784743 w 858948"/>
                  <a:gd name="connsiteY87" fmla="*/ 31750 h 1092200"/>
                  <a:gd name="connsiteX88" fmla="*/ 770480 w 858948"/>
                  <a:gd name="connsiteY88" fmla="*/ 41054 h 1092200"/>
                  <a:gd name="connsiteX89" fmla="*/ 751938 w 858948"/>
                  <a:gd name="connsiteY89" fmla="*/ 53221 h 1092200"/>
                  <a:gd name="connsiteX90" fmla="*/ 731970 w 858948"/>
                  <a:gd name="connsiteY90" fmla="*/ 41054 h 1092200"/>
                  <a:gd name="connsiteX91" fmla="*/ 717707 w 858948"/>
                  <a:gd name="connsiteY91" fmla="*/ 31750 h 1092200"/>
                  <a:gd name="connsiteX92" fmla="*/ 704871 w 858948"/>
                  <a:gd name="connsiteY92" fmla="*/ 31750 h 1092200"/>
                  <a:gd name="connsiteX93" fmla="*/ 690608 w 858948"/>
                  <a:gd name="connsiteY93" fmla="*/ 41054 h 1092200"/>
                  <a:gd name="connsiteX94" fmla="*/ 670640 w 858948"/>
                  <a:gd name="connsiteY94" fmla="*/ 53221 h 1092200"/>
                  <a:gd name="connsiteX95" fmla="*/ 651385 w 858948"/>
                  <a:gd name="connsiteY95" fmla="*/ 41054 h 1092200"/>
                  <a:gd name="connsiteX96" fmla="*/ 637123 w 858948"/>
                  <a:gd name="connsiteY96" fmla="*/ 31750 h 1092200"/>
                  <a:gd name="connsiteX97" fmla="*/ 624286 w 858948"/>
                  <a:gd name="connsiteY97" fmla="*/ 31750 h 1092200"/>
                  <a:gd name="connsiteX98" fmla="*/ 610023 w 858948"/>
                  <a:gd name="connsiteY98" fmla="*/ 41054 h 1092200"/>
                  <a:gd name="connsiteX99" fmla="*/ 590055 w 858948"/>
                  <a:gd name="connsiteY99" fmla="*/ 53221 h 1092200"/>
                  <a:gd name="connsiteX100" fmla="*/ 570800 w 858948"/>
                  <a:gd name="connsiteY100" fmla="*/ 41054 h 1092200"/>
                  <a:gd name="connsiteX101" fmla="*/ 556538 w 858948"/>
                  <a:gd name="connsiteY101" fmla="*/ 31750 h 1092200"/>
                  <a:gd name="connsiteX102" fmla="*/ 543701 w 858948"/>
                  <a:gd name="connsiteY102" fmla="*/ 31750 h 1092200"/>
                  <a:gd name="connsiteX103" fmla="*/ 529438 w 858948"/>
                  <a:gd name="connsiteY103" fmla="*/ 41054 h 1092200"/>
                  <a:gd name="connsiteX104" fmla="*/ 509470 w 858948"/>
                  <a:gd name="connsiteY104" fmla="*/ 53221 h 1092200"/>
                  <a:gd name="connsiteX105" fmla="*/ 490216 w 858948"/>
                  <a:gd name="connsiteY105" fmla="*/ 41054 h 1092200"/>
                  <a:gd name="connsiteX106" fmla="*/ 475953 w 858948"/>
                  <a:gd name="connsiteY106" fmla="*/ 31750 h 1092200"/>
                  <a:gd name="connsiteX107" fmla="*/ 463116 w 858948"/>
                  <a:gd name="connsiteY107" fmla="*/ 31750 h 1092200"/>
                  <a:gd name="connsiteX108" fmla="*/ 448853 w 858948"/>
                  <a:gd name="connsiteY108" fmla="*/ 41054 h 1092200"/>
                  <a:gd name="connsiteX109" fmla="*/ 429599 w 858948"/>
                  <a:gd name="connsiteY109" fmla="*/ 53221 h 1092200"/>
                  <a:gd name="connsiteX110" fmla="*/ 409631 w 858948"/>
                  <a:gd name="connsiteY110" fmla="*/ 41054 h 1092200"/>
                  <a:gd name="connsiteX111" fmla="*/ 395368 w 858948"/>
                  <a:gd name="connsiteY111" fmla="*/ 31750 h 1092200"/>
                  <a:gd name="connsiteX112" fmla="*/ 381818 w 858948"/>
                  <a:gd name="connsiteY112" fmla="*/ 31750 h 1092200"/>
                  <a:gd name="connsiteX113" fmla="*/ 368268 w 858948"/>
                  <a:gd name="connsiteY113" fmla="*/ 41054 h 1092200"/>
                  <a:gd name="connsiteX114" fmla="*/ 349014 w 858948"/>
                  <a:gd name="connsiteY114" fmla="*/ 53221 h 1092200"/>
                  <a:gd name="connsiteX115" fmla="*/ 329046 w 858948"/>
                  <a:gd name="connsiteY115" fmla="*/ 41054 h 1092200"/>
                  <a:gd name="connsiteX116" fmla="*/ 314783 w 858948"/>
                  <a:gd name="connsiteY116" fmla="*/ 31750 h 1092200"/>
                  <a:gd name="connsiteX117" fmla="*/ 301946 w 858948"/>
                  <a:gd name="connsiteY117" fmla="*/ 31750 h 1092200"/>
                  <a:gd name="connsiteX118" fmla="*/ 287684 w 858948"/>
                  <a:gd name="connsiteY118" fmla="*/ 41054 h 1092200"/>
                  <a:gd name="connsiteX119" fmla="*/ 268429 w 858948"/>
                  <a:gd name="connsiteY119" fmla="*/ 53221 h 1092200"/>
                  <a:gd name="connsiteX120" fmla="*/ 248461 w 858948"/>
                  <a:gd name="connsiteY120" fmla="*/ 41054 h 1092200"/>
                  <a:gd name="connsiteX121" fmla="*/ 234198 w 858948"/>
                  <a:gd name="connsiteY121" fmla="*/ 31750 h 1092200"/>
                  <a:gd name="connsiteX122" fmla="*/ 221361 w 858948"/>
                  <a:gd name="connsiteY122" fmla="*/ 31750 h 1092200"/>
                  <a:gd name="connsiteX123" fmla="*/ 207099 w 858948"/>
                  <a:gd name="connsiteY123" fmla="*/ 41054 h 1092200"/>
                  <a:gd name="connsiteX124" fmla="*/ 187131 w 858948"/>
                  <a:gd name="connsiteY124" fmla="*/ 53221 h 1092200"/>
                  <a:gd name="connsiteX125" fmla="*/ 167876 w 858948"/>
                  <a:gd name="connsiteY125" fmla="*/ 41054 h 1092200"/>
                  <a:gd name="connsiteX126" fmla="*/ 154326 w 858948"/>
                  <a:gd name="connsiteY126" fmla="*/ 31750 h 1092200"/>
                  <a:gd name="connsiteX127" fmla="*/ 140777 w 858948"/>
                  <a:gd name="connsiteY127" fmla="*/ 31750 h 1092200"/>
                  <a:gd name="connsiteX128" fmla="*/ 126514 w 858948"/>
                  <a:gd name="connsiteY128" fmla="*/ 41054 h 1092200"/>
                  <a:gd name="connsiteX129" fmla="*/ 107259 w 858948"/>
                  <a:gd name="connsiteY129" fmla="*/ 53221 h 1092200"/>
                  <a:gd name="connsiteX130" fmla="*/ 85865 w 858948"/>
                  <a:gd name="connsiteY130" fmla="*/ 31750 h 1092200"/>
                  <a:gd name="connsiteX131" fmla="*/ 55913 w 858948"/>
                  <a:gd name="connsiteY131" fmla="*/ 31750 h 1092200"/>
                  <a:gd name="connsiteX132" fmla="*/ 16142 w 858948"/>
                  <a:gd name="connsiteY132" fmla="*/ 0 h 1092200"/>
                  <a:gd name="connsiteX133" fmla="*/ 843699 w 858948"/>
                  <a:gd name="connsiteY133" fmla="*/ 0 h 1092200"/>
                  <a:gd name="connsiteX134" fmla="*/ 857967 w 858948"/>
                  <a:gd name="connsiteY134" fmla="*/ 20743 h 1092200"/>
                  <a:gd name="connsiteX135" fmla="*/ 820870 w 858948"/>
                  <a:gd name="connsiteY135" fmla="*/ 132323 h 1092200"/>
                  <a:gd name="connsiteX136" fmla="*/ 821583 w 858948"/>
                  <a:gd name="connsiteY136" fmla="*/ 956301 h 1092200"/>
                  <a:gd name="connsiteX137" fmla="*/ 822297 w 858948"/>
                  <a:gd name="connsiteY137" fmla="*/ 964169 h 1092200"/>
                  <a:gd name="connsiteX138" fmla="*/ 857967 w 858948"/>
                  <a:gd name="connsiteY138" fmla="*/ 1071458 h 1092200"/>
                  <a:gd name="connsiteX139" fmla="*/ 843699 w 858948"/>
                  <a:gd name="connsiteY139" fmla="*/ 1092200 h 1092200"/>
                  <a:gd name="connsiteX140" fmla="*/ 16142 w 858948"/>
                  <a:gd name="connsiteY140" fmla="*/ 1092200 h 1092200"/>
                  <a:gd name="connsiteX141" fmla="*/ 1160 w 858948"/>
                  <a:gd name="connsiteY141" fmla="*/ 1072888 h 1092200"/>
                  <a:gd name="connsiteX142" fmla="*/ 28270 w 858948"/>
                  <a:gd name="connsiteY142" fmla="*/ 960593 h 1092200"/>
                  <a:gd name="connsiteX143" fmla="*/ 28270 w 858948"/>
                  <a:gd name="connsiteY143" fmla="*/ 954155 h 1092200"/>
                  <a:gd name="connsiteX144" fmla="*/ 28983 w 858948"/>
                  <a:gd name="connsiteY144" fmla="*/ 138760 h 1092200"/>
                  <a:gd name="connsiteX145" fmla="*/ 28983 w 858948"/>
                  <a:gd name="connsiteY145" fmla="*/ 133038 h 1092200"/>
                  <a:gd name="connsiteX146" fmla="*/ 1160 w 858948"/>
                  <a:gd name="connsiteY146" fmla="*/ 19312 h 1092200"/>
                  <a:gd name="connsiteX147" fmla="*/ 16142 w 858948"/>
                  <a:gd name="connsiteY147" fmla="*/ 0 h 109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</a:cxnLst>
                <a:rect l="l" t="t" r="r" b="b"/>
                <a:pathLst>
                  <a:path w="858948" h="1092200">
                    <a:moveTo>
                      <a:pt x="69462" y="973138"/>
                    </a:moveTo>
                    <a:cubicBezTo>
                      <a:pt x="62331" y="973138"/>
                      <a:pt x="55913" y="978148"/>
                      <a:pt x="54486" y="985305"/>
                    </a:cubicBezTo>
                    <a:cubicBezTo>
                      <a:pt x="54486" y="985305"/>
                      <a:pt x="54486" y="985305"/>
                      <a:pt x="40224" y="1041128"/>
                    </a:cubicBezTo>
                    <a:cubicBezTo>
                      <a:pt x="38084" y="1051147"/>
                      <a:pt x="45929" y="1060451"/>
                      <a:pt x="55913" y="1060451"/>
                    </a:cubicBezTo>
                    <a:cubicBezTo>
                      <a:pt x="55913" y="1060451"/>
                      <a:pt x="55913" y="1060451"/>
                      <a:pt x="85865" y="1060451"/>
                    </a:cubicBezTo>
                    <a:cubicBezTo>
                      <a:pt x="85865" y="1060451"/>
                      <a:pt x="85865" y="1060451"/>
                      <a:pt x="85865" y="1059735"/>
                    </a:cubicBezTo>
                    <a:cubicBezTo>
                      <a:pt x="85865" y="1047569"/>
                      <a:pt x="95136" y="1038265"/>
                      <a:pt x="107259" y="1038265"/>
                    </a:cubicBezTo>
                    <a:cubicBezTo>
                      <a:pt x="119382" y="1038265"/>
                      <a:pt x="128653" y="1047569"/>
                      <a:pt x="128653" y="1059735"/>
                    </a:cubicBezTo>
                    <a:cubicBezTo>
                      <a:pt x="128653" y="1059735"/>
                      <a:pt x="128653" y="1059735"/>
                      <a:pt x="128653" y="1060451"/>
                    </a:cubicBezTo>
                    <a:cubicBezTo>
                      <a:pt x="128653" y="1060451"/>
                      <a:pt x="128653" y="1060451"/>
                      <a:pt x="165736" y="1060451"/>
                    </a:cubicBezTo>
                    <a:cubicBezTo>
                      <a:pt x="165736" y="1060451"/>
                      <a:pt x="165736" y="1060451"/>
                      <a:pt x="165736" y="1059735"/>
                    </a:cubicBezTo>
                    <a:cubicBezTo>
                      <a:pt x="165736" y="1047569"/>
                      <a:pt x="175720" y="1038265"/>
                      <a:pt x="187131" y="1038265"/>
                    </a:cubicBezTo>
                    <a:cubicBezTo>
                      <a:pt x="199254" y="1038265"/>
                      <a:pt x="209238" y="1047569"/>
                      <a:pt x="209238" y="1059735"/>
                    </a:cubicBezTo>
                    <a:cubicBezTo>
                      <a:pt x="209238" y="1059735"/>
                      <a:pt x="209238" y="1059735"/>
                      <a:pt x="209238" y="1060451"/>
                    </a:cubicBezTo>
                    <a:cubicBezTo>
                      <a:pt x="209238" y="1060451"/>
                      <a:pt x="209238" y="1060451"/>
                      <a:pt x="246321" y="1060451"/>
                    </a:cubicBezTo>
                    <a:cubicBezTo>
                      <a:pt x="246321" y="1060451"/>
                      <a:pt x="246321" y="1060451"/>
                      <a:pt x="246321" y="1059735"/>
                    </a:cubicBezTo>
                    <a:cubicBezTo>
                      <a:pt x="246321" y="1047569"/>
                      <a:pt x="256305" y="1038265"/>
                      <a:pt x="268429" y="1038265"/>
                    </a:cubicBezTo>
                    <a:cubicBezTo>
                      <a:pt x="280552" y="1038265"/>
                      <a:pt x="289823" y="1047569"/>
                      <a:pt x="289823" y="1059735"/>
                    </a:cubicBezTo>
                    <a:cubicBezTo>
                      <a:pt x="289823" y="1059735"/>
                      <a:pt x="289823" y="1059735"/>
                      <a:pt x="289823" y="1060451"/>
                    </a:cubicBezTo>
                    <a:cubicBezTo>
                      <a:pt x="289823" y="1060451"/>
                      <a:pt x="289823" y="1060451"/>
                      <a:pt x="326906" y="1060451"/>
                    </a:cubicBezTo>
                    <a:cubicBezTo>
                      <a:pt x="326906" y="1060451"/>
                      <a:pt x="326906" y="1060451"/>
                      <a:pt x="326906" y="1059735"/>
                    </a:cubicBezTo>
                    <a:cubicBezTo>
                      <a:pt x="326906" y="1047569"/>
                      <a:pt x="336890" y="1038265"/>
                      <a:pt x="349014" y="1038265"/>
                    </a:cubicBezTo>
                    <a:cubicBezTo>
                      <a:pt x="361137" y="1038265"/>
                      <a:pt x="370408" y="1047569"/>
                      <a:pt x="370408" y="1059735"/>
                    </a:cubicBezTo>
                    <a:cubicBezTo>
                      <a:pt x="370408" y="1059735"/>
                      <a:pt x="370408" y="1059735"/>
                      <a:pt x="370408" y="1060451"/>
                    </a:cubicBezTo>
                    <a:cubicBezTo>
                      <a:pt x="370408" y="1060451"/>
                      <a:pt x="370408" y="1060451"/>
                      <a:pt x="407491" y="1060451"/>
                    </a:cubicBezTo>
                    <a:cubicBezTo>
                      <a:pt x="407491" y="1060451"/>
                      <a:pt x="407491" y="1060451"/>
                      <a:pt x="407491" y="1059735"/>
                    </a:cubicBezTo>
                    <a:cubicBezTo>
                      <a:pt x="407491" y="1047569"/>
                      <a:pt x="417475" y="1038265"/>
                      <a:pt x="429599" y="1038265"/>
                    </a:cubicBezTo>
                    <a:cubicBezTo>
                      <a:pt x="441009" y="1038265"/>
                      <a:pt x="450993" y="1047569"/>
                      <a:pt x="450993" y="1059735"/>
                    </a:cubicBezTo>
                    <a:cubicBezTo>
                      <a:pt x="450993" y="1059735"/>
                      <a:pt x="450993" y="1059735"/>
                      <a:pt x="450993" y="1060451"/>
                    </a:cubicBezTo>
                    <a:cubicBezTo>
                      <a:pt x="450993" y="1060451"/>
                      <a:pt x="450993" y="1060451"/>
                      <a:pt x="487363" y="1060451"/>
                    </a:cubicBezTo>
                    <a:cubicBezTo>
                      <a:pt x="487363" y="1060451"/>
                      <a:pt x="487363" y="1060451"/>
                      <a:pt x="487363" y="1059735"/>
                    </a:cubicBezTo>
                    <a:cubicBezTo>
                      <a:pt x="487363" y="1047569"/>
                      <a:pt x="497347" y="1038265"/>
                      <a:pt x="509470" y="1038265"/>
                    </a:cubicBezTo>
                    <a:cubicBezTo>
                      <a:pt x="521594" y="1038265"/>
                      <a:pt x="531578" y="1047569"/>
                      <a:pt x="531578" y="1059735"/>
                    </a:cubicBezTo>
                    <a:cubicBezTo>
                      <a:pt x="531578" y="1059735"/>
                      <a:pt x="531578" y="1059735"/>
                      <a:pt x="531578" y="1060451"/>
                    </a:cubicBezTo>
                    <a:cubicBezTo>
                      <a:pt x="531578" y="1060451"/>
                      <a:pt x="531578" y="1060451"/>
                      <a:pt x="568661" y="1060451"/>
                    </a:cubicBezTo>
                    <a:cubicBezTo>
                      <a:pt x="568661" y="1060451"/>
                      <a:pt x="568661" y="1060451"/>
                      <a:pt x="568661" y="1059735"/>
                    </a:cubicBezTo>
                    <a:cubicBezTo>
                      <a:pt x="568661" y="1047569"/>
                      <a:pt x="577932" y="1038265"/>
                      <a:pt x="590055" y="1038265"/>
                    </a:cubicBezTo>
                    <a:cubicBezTo>
                      <a:pt x="602179" y="1038265"/>
                      <a:pt x="612163" y="1047569"/>
                      <a:pt x="612163" y="1059735"/>
                    </a:cubicBezTo>
                    <a:cubicBezTo>
                      <a:pt x="612163" y="1059735"/>
                      <a:pt x="612163" y="1059735"/>
                      <a:pt x="612163" y="1060451"/>
                    </a:cubicBezTo>
                    <a:cubicBezTo>
                      <a:pt x="612163" y="1060451"/>
                      <a:pt x="612163" y="1060451"/>
                      <a:pt x="649246" y="1060451"/>
                    </a:cubicBezTo>
                    <a:cubicBezTo>
                      <a:pt x="649246" y="1060451"/>
                      <a:pt x="649246" y="1060451"/>
                      <a:pt x="649246" y="1059735"/>
                    </a:cubicBezTo>
                    <a:cubicBezTo>
                      <a:pt x="649246" y="1047569"/>
                      <a:pt x="659230" y="1038265"/>
                      <a:pt x="670640" y="1038265"/>
                    </a:cubicBezTo>
                    <a:cubicBezTo>
                      <a:pt x="682764" y="1038265"/>
                      <a:pt x="692748" y="1047569"/>
                      <a:pt x="692748" y="1059735"/>
                    </a:cubicBezTo>
                    <a:cubicBezTo>
                      <a:pt x="692748" y="1059735"/>
                      <a:pt x="692748" y="1059735"/>
                      <a:pt x="692748" y="1060451"/>
                    </a:cubicBezTo>
                    <a:cubicBezTo>
                      <a:pt x="692748" y="1060451"/>
                      <a:pt x="692748" y="1060451"/>
                      <a:pt x="729831" y="1060451"/>
                    </a:cubicBezTo>
                    <a:cubicBezTo>
                      <a:pt x="729831" y="1060451"/>
                      <a:pt x="729831" y="1060451"/>
                      <a:pt x="729831" y="1059735"/>
                    </a:cubicBezTo>
                    <a:cubicBezTo>
                      <a:pt x="729831" y="1047569"/>
                      <a:pt x="739815" y="1038265"/>
                      <a:pt x="751938" y="1038265"/>
                    </a:cubicBezTo>
                    <a:cubicBezTo>
                      <a:pt x="763349" y="1038265"/>
                      <a:pt x="772619" y="1047569"/>
                      <a:pt x="772619" y="1059735"/>
                    </a:cubicBezTo>
                    <a:cubicBezTo>
                      <a:pt x="772619" y="1059735"/>
                      <a:pt x="772619" y="1059735"/>
                      <a:pt x="772619" y="1060451"/>
                    </a:cubicBezTo>
                    <a:lnTo>
                      <a:pt x="799719" y="1060451"/>
                    </a:lnTo>
                    <a:cubicBezTo>
                      <a:pt x="810416" y="1060451"/>
                      <a:pt x="817547" y="1050432"/>
                      <a:pt x="814695" y="1039696"/>
                    </a:cubicBezTo>
                    <a:cubicBezTo>
                      <a:pt x="814695" y="1039696"/>
                      <a:pt x="814695" y="1039696"/>
                      <a:pt x="795440" y="983873"/>
                    </a:cubicBezTo>
                    <a:cubicBezTo>
                      <a:pt x="793300" y="977432"/>
                      <a:pt x="787595" y="973138"/>
                      <a:pt x="781177" y="973138"/>
                    </a:cubicBezTo>
                    <a:cubicBezTo>
                      <a:pt x="781177" y="973138"/>
                      <a:pt x="781177" y="973138"/>
                      <a:pt x="69462" y="973138"/>
                    </a:cubicBezTo>
                    <a:close/>
                    <a:moveTo>
                      <a:pt x="49758" y="688975"/>
                    </a:moveTo>
                    <a:cubicBezTo>
                      <a:pt x="40468" y="688975"/>
                      <a:pt x="33321" y="696818"/>
                      <a:pt x="34036" y="705375"/>
                    </a:cubicBezTo>
                    <a:cubicBezTo>
                      <a:pt x="38324" y="781669"/>
                      <a:pt x="45471" y="855824"/>
                      <a:pt x="55476" y="928554"/>
                    </a:cubicBezTo>
                    <a:cubicBezTo>
                      <a:pt x="56905" y="935684"/>
                      <a:pt x="63337" y="941388"/>
                      <a:pt x="71198" y="941388"/>
                    </a:cubicBezTo>
                    <a:cubicBezTo>
                      <a:pt x="71198" y="941388"/>
                      <a:pt x="71198" y="941388"/>
                      <a:pt x="779429" y="941388"/>
                    </a:cubicBezTo>
                    <a:cubicBezTo>
                      <a:pt x="787291" y="941388"/>
                      <a:pt x="793723" y="936397"/>
                      <a:pt x="795152" y="928554"/>
                    </a:cubicBezTo>
                    <a:cubicBezTo>
                      <a:pt x="805872" y="865094"/>
                      <a:pt x="817307" y="749583"/>
                      <a:pt x="821595" y="706088"/>
                    </a:cubicBezTo>
                    <a:cubicBezTo>
                      <a:pt x="822309" y="696818"/>
                      <a:pt x="815163" y="688975"/>
                      <a:pt x="805872" y="688975"/>
                    </a:cubicBezTo>
                    <a:cubicBezTo>
                      <a:pt x="805872" y="688975"/>
                      <a:pt x="805872" y="688975"/>
                      <a:pt x="49758" y="688975"/>
                    </a:cubicBezTo>
                    <a:close/>
                    <a:moveTo>
                      <a:pt x="48696" y="434975"/>
                    </a:moveTo>
                    <a:cubicBezTo>
                      <a:pt x="40135" y="434975"/>
                      <a:pt x="33000" y="441407"/>
                      <a:pt x="33000" y="449982"/>
                    </a:cubicBezTo>
                    <a:cubicBezTo>
                      <a:pt x="30146" y="515014"/>
                      <a:pt x="30146" y="579330"/>
                      <a:pt x="31573" y="642218"/>
                    </a:cubicBezTo>
                    <a:cubicBezTo>
                      <a:pt x="32287" y="650793"/>
                      <a:pt x="38708" y="657225"/>
                      <a:pt x="47269" y="657225"/>
                    </a:cubicBezTo>
                    <a:cubicBezTo>
                      <a:pt x="47269" y="657225"/>
                      <a:pt x="47269" y="657225"/>
                      <a:pt x="808521" y="657225"/>
                    </a:cubicBezTo>
                    <a:cubicBezTo>
                      <a:pt x="817083" y="657225"/>
                      <a:pt x="824217" y="650793"/>
                      <a:pt x="824217" y="642218"/>
                    </a:cubicBezTo>
                    <a:cubicBezTo>
                      <a:pt x="827071" y="578616"/>
                      <a:pt x="827071" y="515014"/>
                      <a:pt x="824217" y="449982"/>
                    </a:cubicBezTo>
                    <a:cubicBezTo>
                      <a:pt x="824217" y="441407"/>
                      <a:pt x="817083" y="434975"/>
                      <a:pt x="808521" y="434975"/>
                    </a:cubicBezTo>
                    <a:close/>
                    <a:moveTo>
                      <a:pt x="57774" y="150813"/>
                    </a:moveTo>
                    <a:cubicBezTo>
                      <a:pt x="47771" y="230673"/>
                      <a:pt x="39911" y="309106"/>
                      <a:pt x="35624" y="386826"/>
                    </a:cubicBezTo>
                    <a:cubicBezTo>
                      <a:pt x="34909" y="396096"/>
                      <a:pt x="42054" y="403226"/>
                      <a:pt x="51343" y="403226"/>
                    </a:cubicBezTo>
                    <a:cubicBezTo>
                      <a:pt x="51343" y="403226"/>
                      <a:pt x="51343" y="403226"/>
                      <a:pt x="805875" y="403226"/>
                    </a:cubicBezTo>
                    <a:cubicBezTo>
                      <a:pt x="815164" y="403226"/>
                      <a:pt x="822309" y="395383"/>
                      <a:pt x="821595" y="386826"/>
                    </a:cubicBezTo>
                    <a:cubicBezTo>
                      <a:pt x="816593" y="312671"/>
                      <a:pt x="806590" y="238516"/>
                      <a:pt x="794443" y="163648"/>
                    </a:cubicBezTo>
                    <a:cubicBezTo>
                      <a:pt x="793014" y="156517"/>
                      <a:pt x="786583" y="150813"/>
                      <a:pt x="778724" y="150813"/>
                    </a:cubicBezTo>
                    <a:cubicBezTo>
                      <a:pt x="778724" y="150813"/>
                      <a:pt x="778724" y="150813"/>
                      <a:pt x="57774" y="150813"/>
                    </a:cubicBezTo>
                    <a:close/>
                    <a:moveTo>
                      <a:pt x="55913" y="31750"/>
                    </a:moveTo>
                    <a:cubicBezTo>
                      <a:pt x="45929" y="31750"/>
                      <a:pt x="38084" y="41054"/>
                      <a:pt x="40224" y="51073"/>
                    </a:cubicBezTo>
                    <a:cubicBezTo>
                      <a:pt x="40224" y="51073"/>
                      <a:pt x="40224" y="51073"/>
                      <a:pt x="54486" y="106897"/>
                    </a:cubicBezTo>
                    <a:cubicBezTo>
                      <a:pt x="55913" y="114053"/>
                      <a:pt x="62331" y="119063"/>
                      <a:pt x="69462" y="119063"/>
                    </a:cubicBezTo>
                    <a:cubicBezTo>
                      <a:pt x="69462" y="119063"/>
                      <a:pt x="69462" y="119063"/>
                      <a:pt x="781177" y="119063"/>
                    </a:cubicBezTo>
                    <a:cubicBezTo>
                      <a:pt x="787595" y="119063"/>
                      <a:pt x="793300" y="114769"/>
                      <a:pt x="795440" y="108328"/>
                    </a:cubicBezTo>
                    <a:cubicBezTo>
                      <a:pt x="795440" y="108328"/>
                      <a:pt x="795440" y="108328"/>
                      <a:pt x="814695" y="52505"/>
                    </a:cubicBezTo>
                    <a:cubicBezTo>
                      <a:pt x="817547" y="42485"/>
                      <a:pt x="810416" y="31750"/>
                      <a:pt x="799719" y="31750"/>
                    </a:cubicBezTo>
                    <a:cubicBezTo>
                      <a:pt x="799719" y="31750"/>
                      <a:pt x="799719" y="31750"/>
                      <a:pt x="784743" y="31750"/>
                    </a:cubicBezTo>
                    <a:cubicBezTo>
                      <a:pt x="779038" y="31750"/>
                      <a:pt x="773332" y="35329"/>
                      <a:pt x="770480" y="41054"/>
                    </a:cubicBezTo>
                    <a:cubicBezTo>
                      <a:pt x="767627" y="48211"/>
                      <a:pt x="759783" y="53221"/>
                      <a:pt x="751938" y="53221"/>
                    </a:cubicBezTo>
                    <a:cubicBezTo>
                      <a:pt x="742667" y="53221"/>
                      <a:pt x="735536" y="48211"/>
                      <a:pt x="731970" y="41054"/>
                    </a:cubicBezTo>
                    <a:cubicBezTo>
                      <a:pt x="729118" y="35329"/>
                      <a:pt x="723413" y="31750"/>
                      <a:pt x="717707" y="31750"/>
                    </a:cubicBezTo>
                    <a:cubicBezTo>
                      <a:pt x="717707" y="31750"/>
                      <a:pt x="717707" y="31750"/>
                      <a:pt x="704871" y="31750"/>
                    </a:cubicBezTo>
                    <a:cubicBezTo>
                      <a:pt x="698453" y="31750"/>
                      <a:pt x="693461" y="35329"/>
                      <a:pt x="690608" y="41054"/>
                    </a:cubicBezTo>
                    <a:cubicBezTo>
                      <a:pt x="687042" y="48211"/>
                      <a:pt x="679198" y="53221"/>
                      <a:pt x="670640" y="53221"/>
                    </a:cubicBezTo>
                    <a:cubicBezTo>
                      <a:pt x="662083" y="53221"/>
                      <a:pt x="654951" y="48211"/>
                      <a:pt x="651385" y="41054"/>
                    </a:cubicBezTo>
                    <a:cubicBezTo>
                      <a:pt x="648533" y="35329"/>
                      <a:pt x="643541" y="31750"/>
                      <a:pt x="637123" y="31750"/>
                    </a:cubicBezTo>
                    <a:cubicBezTo>
                      <a:pt x="637123" y="31750"/>
                      <a:pt x="637123" y="31750"/>
                      <a:pt x="624286" y="31750"/>
                    </a:cubicBezTo>
                    <a:cubicBezTo>
                      <a:pt x="617868" y="31750"/>
                      <a:pt x="612876" y="35329"/>
                      <a:pt x="610023" y="41054"/>
                    </a:cubicBezTo>
                    <a:cubicBezTo>
                      <a:pt x="606458" y="48211"/>
                      <a:pt x="598613" y="53221"/>
                      <a:pt x="590055" y="53221"/>
                    </a:cubicBezTo>
                    <a:cubicBezTo>
                      <a:pt x="581498" y="53221"/>
                      <a:pt x="574366" y="48211"/>
                      <a:pt x="570800" y="41054"/>
                    </a:cubicBezTo>
                    <a:cubicBezTo>
                      <a:pt x="567948" y="35329"/>
                      <a:pt x="562956" y="31750"/>
                      <a:pt x="556538" y="31750"/>
                    </a:cubicBezTo>
                    <a:cubicBezTo>
                      <a:pt x="556538" y="31750"/>
                      <a:pt x="556538" y="31750"/>
                      <a:pt x="543701" y="31750"/>
                    </a:cubicBezTo>
                    <a:cubicBezTo>
                      <a:pt x="537283" y="31750"/>
                      <a:pt x="532291" y="35329"/>
                      <a:pt x="529438" y="41054"/>
                    </a:cubicBezTo>
                    <a:cubicBezTo>
                      <a:pt x="525873" y="48211"/>
                      <a:pt x="518741" y="53221"/>
                      <a:pt x="509470" y="53221"/>
                    </a:cubicBezTo>
                    <a:cubicBezTo>
                      <a:pt x="500913" y="53221"/>
                      <a:pt x="493781" y="48211"/>
                      <a:pt x="490216" y="41054"/>
                    </a:cubicBezTo>
                    <a:cubicBezTo>
                      <a:pt x="487363" y="35329"/>
                      <a:pt x="481658" y="31750"/>
                      <a:pt x="475953" y="31750"/>
                    </a:cubicBezTo>
                    <a:cubicBezTo>
                      <a:pt x="475953" y="31750"/>
                      <a:pt x="475953" y="31750"/>
                      <a:pt x="463116" y="31750"/>
                    </a:cubicBezTo>
                    <a:cubicBezTo>
                      <a:pt x="456698" y="31750"/>
                      <a:pt x="451706" y="35329"/>
                      <a:pt x="448853" y="41054"/>
                    </a:cubicBezTo>
                    <a:cubicBezTo>
                      <a:pt x="445288" y="48211"/>
                      <a:pt x="438156" y="53221"/>
                      <a:pt x="429599" y="53221"/>
                    </a:cubicBezTo>
                    <a:cubicBezTo>
                      <a:pt x="420328" y="53221"/>
                      <a:pt x="413196" y="48211"/>
                      <a:pt x="409631" y="41054"/>
                    </a:cubicBezTo>
                    <a:cubicBezTo>
                      <a:pt x="406778" y="35329"/>
                      <a:pt x="401786" y="31750"/>
                      <a:pt x="395368" y="31750"/>
                    </a:cubicBezTo>
                    <a:cubicBezTo>
                      <a:pt x="395368" y="31750"/>
                      <a:pt x="395368" y="31750"/>
                      <a:pt x="381818" y="31750"/>
                    </a:cubicBezTo>
                    <a:cubicBezTo>
                      <a:pt x="376113" y="31750"/>
                      <a:pt x="370408" y="35329"/>
                      <a:pt x="368268" y="41054"/>
                    </a:cubicBezTo>
                    <a:cubicBezTo>
                      <a:pt x="364703" y="48211"/>
                      <a:pt x="357571" y="53221"/>
                      <a:pt x="349014" y="53221"/>
                    </a:cubicBezTo>
                    <a:cubicBezTo>
                      <a:pt x="340456" y="53221"/>
                      <a:pt x="332611" y="48211"/>
                      <a:pt x="329046" y="41054"/>
                    </a:cubicBezTo>
                    <a:cubicBezTo>
                      <a:pt x="326193" y="35329"/>
                      <a:pt x="321201" y="31750"/>
                      <a:pt x="314783" y="31750"/>
                    </a:cubicBezTo>
                    <a:cubicBezTo>
                      <a:pt x="314783" y="31750"/>
                      <a:pt x="314783" y="31750"/>
                      <a:pt x="301946" y="31750"/>
                    </a:cubicBezTo>
                    <a:cubicBezTo>
                      <a:pt x="295528" y="31750"/>
                      <a:pt x="290536" y="35329"/>
                      <a:pt x="287684" y="41054"/>
                    </a:cubicBezTo>
                    <a:cubicBezTo>
                      <a:pt x="284118" y="48211"/>
                      <a:pt x="276986" y="53221"/>
                      <a:pt x="268429" y="53221"/>
                    </a:cubicBezTo>
                    <a:cubicBezTo>
                      <a:pt x="259871" y="53221"/>
                      <a:pt x="252027" y="48211"/>
                      <a:pt x="248461" y="41054"/>
                    </a:cubicBezTo>
                    <a:cubicBezTo>
                      <a:pt x="245608" y="35329"/>
                      <a:pt x="240616" y="31750"/>
                      <a:pt x="234198" y="31750"/>
                    </a:cubicBezTo>
                    <a:cubicBezTo>
                      <a:pt x="234198" y="31750"/>
                      <a:pt x="234198" y="31750"/>
                      <a:pt x="221361" y="31750"/>
                    </a:cubicBezTo>
                    <a:cubicBezTo>
                      <a:pt x="215656" y="31750"/>
                      <a:pt x="209951" y="35329"/>
                      <a:pt x="207099" y="41054"/>
                    </a:cubicBezTo>
                    <a:cubicBezTo>
                      <a:pt x="203533" y="48211"/>
                      <a:pt x="196402" y="53221"/>
                      <a:pt x="187131" y="53221"/>
                    </a:cubicBezTo>
                    <a:cubicBezTo>
                      <a:pt x="179286" y="53221"/>
                      <a:pt x="171442" y="48211"/>
                      <a:pt x="167876" y="41054"/>
                    </a:cubicBezTo>
                    <a:cubicBezTo>
                      <a:pt x="165736" y="35329"/>
                      <a:pt x="160031" y="31750"/>
                      <a:pt x="154326" y="31750"/>
                    </a:cubicBezTo>
                    <a:cubicBezTo>
                      <a:pt x="154326" y="31750"/>
                      <a:pt x="154326" y="31750"/>
                      <a:pt x="140777" y="31750"/>
                    </a:cubicBezTo>
                    <a:cubicBezTo>
                      <a:pt x="135071" y="31750"/>
                      <a:pt x="129366" y="35329"/>
                      <a:pt x="126514" y="41054"/>
                    </a:cubicBezTo>
                    <a:cubicBezTo>
                      <a:pt x="123661" y="48211"/>
                      <a:pt x="115817" y="53221"/>
                      <a:pt x="107259" y="53221"/>
                    </a:cubicBezTo>
                    <a:cubicBezTo>
                      <a:pt x="95849" y="53221"/>
                      <a:pt x="85865" y="43917"/>
                      <a:pt x="85865" y="31750"/>
                    </a:cubicBezTo>
                    <a:cubicBezTo>
                      <a:pt x="85865" y="31750"/>
                      <a:pt x="85865" y="31750"/>
                      <a:pt x="55913" y="31750"/>
                    </a:cubicBezTo>
                    <a:close/>
                    <a:moveTo>
                      <a:pt x="16142" y="0"/>
                    </a:moveTo>
                    <a:cubicBezTo>
                      <a:pt x="16142" y="0"/>
                      <a:pt x="16142" y="0"/>
                      <a:pt x="843699" y="0"/>
                    </a:cubicBezTo>
                    <a:cubicBezTo>
                      <a:pt x="854400" y="0"/>
                      <a:pt x="861534" y="10729"/>
                      <a:pt x="857967" y="20743"/>
                    </a:cubicBezTo>
                    <a:cubicBezTo>
                      <a:pt x="857967" y="20743"/>
                      <a:pt x="857967" y="20743"/>
                      <a:pt x="820870" y="132323"/>
                    </a:cubicBezTo>
                    <a:cubicBezTo>
                      <a:pt x="871522" y="411989"/>
                      <a:pt x="871522" y="688794"/>
                      <a:pt x="821583" y="956301"/>
                    </a:cubicBezTo>
                    <a:cubicBezTo>
                      <a:pt x="821583" y="958447"/>
                      <a:pt x="821583" y="961308"/>
                      <a:pt x="822297" y="964169"/>
                    </a:cubicBezTo>
                    <a:cubicBezTo>
                      <a:pt x="822297" y="964169"/>
                      <a:pt x="822297" y="964169"/>
                      <a:pt x="857967" y="1071458"/>
                    </a:cubicBezTo>
                    <a:cubicBezTo>
                      <a:pt x="861534" y="1082187"/>
                      <a:pt x="854400" y="1092200"/>
                      <a:pt x="843699" y="1092200"/>
                    </a:cubicBezTo>
                    <a:cubicBezTo>
                      <a:pt x="843699" y="1092200"/>
                      <a:pt x="843699" y="1092200"/>
                      <a:pt x="16142" y="1092200"/>
                    </a:cubicBezTo>
                    <a:cubicBezTo>
                      <a:pt x="6154" y="1092200"/>
                      <a:pt x="-1693" y="1082902"/>
                      <a:pt x="1160" y="1072888"/>
                    </a:cubicBezTo>
                    <a:cubicBezTo>
                      <a:pt x="1160" y="1072888"/>
                      <a:pt x="1160" y="1072888"/>
                      <a:pt x="28270" y="960593"/>
                    </a:cubicBezTo>
                    <a:cubicBezTo>
                      <a:pt x="28270" y="958447"/>
                      <a:pt x="28983" y="956301"/>
                      <a:pt x="28270" y="954155"/>
                    </a:cubicBezTo>
                    <a:cubicBezTo>
                      <a:pt x="-9541" y="699523"/>
                      <a:pt x="-9541" y="425579"/>
                      <a:pt x="28983" y="138760"/>
                    </a:cubicBezTo>
                    <a:cubicBezTo>
                      <a:pt x="29697" y="136615"/>
                      <a:pt x="28983" y="135184"/>
                      <a:pt x="28983" y="133038"/>
                    </a:cubicBezTo>
                    <a:cubicBezTo>
                      <a:pt x="28983" y="133038"/>
                      <a:pt x="28983" y="133038"/>
                      <a:pt x="1160" y="19312"/>
                    </a:cubicBezTo>
                    <a:cubicBezTo>
                      <a:pt x="-1693" y="9298"/>
                      <a:pt x="6154" y="0"/>
                      <a:pt x="16142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>
                  <a:sym typeface="Trebuchet MS" panose="020B0603020202020204" pitchFamily="34" charset="0"/>
                </a:endParaRPr>
              </a:p>
            </p:txBody>
          </p:sp>
          <p:sp>
            <p:nvSpPr>
              <p:cNvPr id="43" name="Freeform 11">
                <a:extLst>
                  <a:ext uri="{FF2B5EF4-FFF2-40B4-BE49-F238E27FC236}">
                    <a16:creationId xmlns:a16="http://schemas.microsoft.com/office/drawing/2014/main" id="{8AD04380-4672-432C-8C00-2BE3A4F410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5000" y="3341688"/>
                <a:ext cx="749300" cy="168275"/>
              </a:xfrm>
              <a:custGeom>
                <a:avLst/>
                <a:gdLst>
                  <a:gd name="T0" fmla="*/ 23 w 1049"/>
                  <a:gd name="T1" fmla="*/ 235 h 235"/>
                  <a:gd name="T2" fmla="*/ 1 w 1049"/>
                  <a:gd name="T3" fmla="*/ 214 h 235"/>
                  <a:gd name="T4" fmla="*/ 2 w 1049"/>
                  <a:gd name="T5" fmla="*/ 22 h 235"/>
                  <a:gd name="T6" fmla="*/ 24 w 1049"/>
                  <a:gd name="T7" fmla="*/ 0 h 235"/>
                  <a:gd name="T8" fmla="*/ 1025 w 1049"/>
                  <a:gd name="T9" fmla="*/ 0 h 235"/>
                  <a:gd name="T10" fmla="*/ 1047 w 1049"/>
                  <a:gd name="T11" fmla="*/ 22 h 235"/>
                  <a:gd name="T12" fmla="*/ 1048 w 1049"/>
                  <a:gd name="T13" fmla="*/ 214 h 235"/>
                  <a:gd name="T14" fmla="*/ 1026 w 1049"/>
                  <a:gd name="T15" fmla="*/ 235 h 235"/>
                  <a:gd name="T16" fmla="*/ 23 w 1049"/>
                  <a:gd name="T17" fmla="*/ 235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49" h="235">
                    <a:moveTo>
                      <a:pt x="23" y="235"/>
                    </a:moveTo>
                    <a:cubicBezTo>
                      <a:pt x="11" y="235"/>
                      <a:pt x="1" y="226"/>
                      <a:pt x="1" y="214"/>
                    </a:cubicBezTo>
                    <a:cubicBezTo>
                      <a:pt x="0" y="150"/>
                      <a:pt x="0" y="86"/>
                      <a:pt x="2" y="22"/>
                    </a:cubicBezTo>
                    <a:cubicBezTo>
                      <a:pt x="2" y="10"/>
                      <a:pt x="12" y="0"/>
                      <a:pt x="24" y="0"/>
                    </a:cubicBezTo>
                    <a:cubicBezTo>
                      <a:pt x="1025" y="0"/>
                      <a:pt x="1025" y="0"/>
                      <a:pt x="1025" y="0"/>
                    </a:cubicBezTo>
                    <a:cubicBezTo>
                      <a:pt x="1037" y="0"/>
                      <a:pt x="1047" y="10"/>
                      <a:pt x="1047" y="22"/>
                    </a:cubicBezTo>
                    <a:cubicBezTo>
                      <a:pt x="1049" y="86"/>
                      <a:pt x="1049" y="150"/>
                      <a:pt x="1048" y="214"/>
                    </a:cubicBezTo>
                    <a:cubicBezTo>
                      <a:pt x="1048" y="226"/>
                      <a:pt x="1038" y="235"/>
                      <a:pt x="1026" y="235"/>
                    </a:cubicBezTo>
                    <a:lnTo>
                      <a:pt x="23" y="235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ym typeface="Trebuchet MS" panose="020B0603020202020204" pitchFamily="34" charset="0"/>
                </a:endParaRPr>
              </a:p>
            </p:txBody>
          </p:sp>
        </p:grpSp>
      </p:grp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CEF2CE5E-5792-AE2E-8A69-BBE05A48D62E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63071745"/>
              </p:ext>
            </p:extLst>
          </p:nvPr>
        </p:nvGraphicFramePr>
        <p:xfrm>
          <a:off x="1949450" y="2135188"/>
          <a:ext cx="2484438" cy="3413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 useBgFill="1">
        <p:nvSpPr>
          <p:cNvPr id="7" name="Freeform: Shape 6">
            <a:extLst>
              <a:ext uri="{FF2B5EF4-FFF2-40B4-BE49-F238E27FC236}">
                <a16:creationId xmlns:a16="http://schemas.microsoft.com/office/drawing/2014/main" id="{010CE672-FFE2-8202-D32B-8A4F495999C1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3740150" y="2292350"/>
            <a:ext cx="192089" cy="498476"/>
          </a:xfrm>
          <a:custGeom>
            <a:avLst/>
            <a:gdLst/>
            <a:ahLst/>
            <a:cxnLst/>
            <a:rect l="0" t="0" r="0" b="0"/>
            <a:pathLst>
              <a:path w="192089" h="498476">
                <a:moveTo>
                  <a:pt x="192088" y="0"/>
                </a:moveTo>
                <a:lnTo>
                  <a:pt x="57150" y="498475"/>
                </a:lnTo>
                <a:lnTo>
                  <a:pt x="0" y="498475"/>
                </a:lnTo>
                <a:lnTo>
                  <a:pt x="134938" y="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62A3B9C1-3A58-6FEC-51DE-D3973A6040B9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740150" y="2292350"/>
            <a:ext cx="134939" cy="498476"/>
          </a:xfrm>
          <a:custGeom>
            <a:avLst/>
            <a:gdLst/>
            <a:ahLst/>
            <a:cxnLst/>
            <a:rect l="0" t="0" r="0" b="0"/>
            <a:pathLst>
              <a:path w="134939" h="498476">
                <a:moveTo>
                  <a:pt x="134938" y="0"/>
                </a:moveTo>
                <a:lnTo>
                  <a:pt x="0" y="49847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C544D804-D134-F86F-DC60-A55F3418375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797300" y="2292350"/>
            <a:ext cx="134939" cy="498476"/>
          </a:xfrm>
          <a:custGeom>
            <a:avLst/>
            <a:gdLst/>
            <a:ahLst/>
            <a:cxnLst/>
            <a:rect l="0" t="0" r="0" b="0"/>
            <a:pathLst>
              <a:path w="134939" h="498476">
                <a:moveTo>
                  <a:pt x="134938" y="0"/>
                </a:moveTo>
                <a:lnTo>
                  <a:pt x="0" y="49847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ABFE011D-4C10-4FC8-9D94-C8CDE8BB952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994025" y="2441442"/>
            <a:ext cx="3937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7F53C14-D111-4181-9A4B-A0D1D912BFB1}" type="datetime'''''6'''''''',''''''''0''''''''''''''''''''''2''''1'">
              <a:rPr lang="en-GB" altLang="en-US" smtClean="0">
                <a:solidFill>
                  <a:schemeClr val="bg1"/>
                </a:solidFill>
              </a:rPr>
              <a:pPr/>
              <a:t>6,021</a:t>
            </a:fld>
            <a:endParaRPr lang="en-US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403475" y="5040314"/>
            <a:ext cx="277813" cy="201613"/>
          </a:xfrm>
          <a:prstGeom prst="rect">
            <a:avLst/>
          </a:prstGeom>
          <a:solidFill>
            <a:srgbClr val="1E50A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6E9D011A-3C40-47F7-A2CC-F47829817DC7}" type="datetime'2''''''''''''''''''''''''1''''''''''''''''''''''9'">
              <a:rPr lang="en-GB" altLang="en-US" sz="1200" smtClean="0">
                <a:solidFill>
                  <a:schemeClr val="bg1"/>
                </a:solidFill>
                <a:effectLst/>
              </a:rPr>
              <a:pPr/>
              <a:t>219</a:t>
            </a:fld>
            <a:endParaRPr lang="en-GB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7" name="Rectangle 86"/>
          <p:cNvSpPr/>
          <p:nvPr>
            <p:custDataLst>
              <p:tags r:id="rId9"/>
            </p:custDataLst>
          </p:nvPr>
        </p:nvSpPr>
        <p:spPr bwMode="gray">
          <a:xfrm>
            <a:off x="2487613" y="5484813"/>
            <a:ext cx="214313" cy="160338"/>
          </a:xfrm>
          <a:prstGeom prst="rect">
            <a:avLst/>
          </a:prstGeom>
          <a:solidFill>
            <a:srgbClr val="1E50A0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rnd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82" name="Text Placeholder 3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752724" y="5465763"/>
            <a:ext cx="4778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9F76333-7DC4-4E41-8C0B-609E1F82E6FD}" type="datetime'''''''''''''J''''''u''''''n''''''''e’''''''''2''''''''''''3'">
              <a:rPr lang="en-US" altLang="en-US" smtClean="0"/>
              <a:pPr/>
              <a:t>June’23</a:t>
            </a:fld>
            <a:endParaRPr lang="en-US" dirty="0">
              <a:sym typeface="+mn-lt"/>
            </a:endParaRPr>
          </a:p>
        </p:txBody>
      </p:sp>
      <p:cxnSp>
        <p:nvCxnSpPr>
          <p:cNvPr id="151" name="Straight Connector 150"/>
          <p:cNvCxnSpPr/>
          <p:nvPr/>
        </p:nvCxnSpPr>
        <p:spPr>
          <a:xfrm>
            <a:off x="4165598" y="2854192"/>
            <a:ext cx="3593737" cy="0"/>
          </a:xfrm>
          <a:prstGeom prst="line">
            <a:avLst/>
          </a:prstGeom>
          <a:ln w="9525" cap="rnd" cmpd="sng" algn="ctr">
            <a:solidFill>
              <a:srgbClr val="9A9A9A">
                <a:lumMod val="100000"/>
              </a:srgb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/>
          <p:cNvCxnSpPr/>
          <p:nvPr/>
        </p:nvCxnSpPr>
        <p:spPr>
          <a:xfrm>
            <a:off x="4165598" y="3511417"/>
            <a:ext cx="3593737" cy="0"/>
          </a:xfrm>
          <a:prstGeom prst="line">
            <a:avLst/>
          </a:prstGeom>
          <a:ln w="9525" cap="rnd" cmpd="sng" algn="ctr">
            <a:solidFill>
              <a:srgbClr val="9A9A9A">
                <a:lumMod val="100000"/>
              </a:srgb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/>
        </p:nvCxnSpPr>
        <p:spPr>
          <a:xfrm>
            <a:off x="4165598" y="4141655"/>
            <a:ext cx="3593737" cy="0"/>
          </a:xfrm>
          <a:prstGeom prst="line">
            <a:avLst/>
          </a:prstGeom>
          <a:ln w="9525" cap="rnd" cmpd="sng" algn="ctr">
            <a:solidFill>
              <a:srgbClr val="9A9A9A">
                <a:lumMod val="100000"/>
              </a:srgb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/>
          <p:cNvCxnSpPr/>
          <p:nvPr/>
        </p:nvCxnSpPr>
        <p:spPr>
          <a:xfrm>
            <a:off x="4165598" y="4798880"/>
            <a:ext cx="3593737" cy="0"/>
          </a:xfrm>
          <a:prstGeom prst="line">
            <a:avLst/>
          </a:prstGeom>
          <a:ln w="9525" cap="rnd" cmpd="sng" algn="ctr">
            <a:solidFill>
              <a:srgbClr val="9A9A9A">
                <a:lumMod val="100000"/>
              </a:srgb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/>
          <p:cNvCxnSpPr/>
          <p:nvPr/>
        </p:nvCxnSpPr>
        <p:spPr>
          <a:xfrm>
            <a:off x="7969612" y="2827205"/>
            <a:ext cx="3593737" cy="0"/>
          </a:xfrm>
          <a:prstGeom prst="line">
            <a:avLst/>
          </a:prstGeom>
          <a:ln w="9525" cap="rnd" cmpd="sng" algn="ctr">
            <a:solidFill>
              <a:srgbClr val="9A9A9A">
                <a:lumMod val="100000"/>
              </a:srgb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/>
        </p:nvCxnSpPr>
        <p:spPr>
          <a:xfrm>
            <a:off x="7969612" y="3484430"/>
            <a:ext cx="3593737" cy="0"/>
          </a:xfrm>
          <a:prstGeom prst="line">
            <a:avLst/>
          </a:prstGeom>
          <a:ln w="9525" cap="rnd" cmpd="sng" algn="ctr">
            <a:solidFill>
              <a:srgbClr val="9A9A9A">
                <a:lumMod val="100000"/>
              </a:srgb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/>
        </p:nvCxnSpPr>
        <p:spPr>
          <a:xfrm>
            <a:off x="7969612" y="4168642"/>
            <a:ext cx="3593737" cy="0"/>
          </a:xfrm>
          <a:prstGeom prst="line">
            <a:avLst/>
          </a:prstGeom>
          <a:ln w="9525" cap="rnd" cmpd="sng" algn="ctr">
            <a:solidFill>
              <a:srgbClr val="9A9A9A">
                <a:lumMod val="100000"/>
              </a:srgb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/>
        </p:nvCxnSpPr>
        <p:spPr>
          <a:xfrm>
            <a:off x="7969612" y="4825867"/>
            <a:ext cx="3593737" cy="0"/>
          </a:xfrm>
          <a:prstGeom prst="line">
            <a:avLst/>
          </a:prstGeom>
          <a:ln w="9525" cap="rnd" cmpd="sng" algn="ctr">
            <a:solidFill>
              <a:srgbClr val="9A9A9A">
                <a:lumMod val="100000"/>
              </a:srgb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Oval 20">
            <a:extLst>
              <a:ext uri="{FF2B5EF4-FFF2-40B4-BE49-F238E27FC236}">
                <a16:creationId xmlns:a16="http://schemas.microsoft.com/office/drawing/2014/main" id="{10927B99-C8D9-4728-87E8-888D869E638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418766" y="5498967"/>
            <a:ext cx="190567" cy="190500"/>
          </a:xfrm>
          <a:prstGeom prst="ellipse">
            <a:avLst/>
          </a:prstGeom>
          <a:solidFill>
            <a:srgbClr val="29BA74"/>
          </a:solidFill>
          <a:ln w="9525" cap="flat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200" dirty="0">
              <a:solidFill>
                <a:srgbClr val="29BA74"/>
              </a:solidFill>
              <a:sym typeface="Trebuchet MS" panose="020B0603020202020204" pitchFamily="34" charset="0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9419B613-7D4D-463C-9AD3-FBD3B6D9963A}"/>
              </a:ext>
            </a:extLst>
          </p:cNvPr>
          <p:cNvSpPr/>
          <p:nvPr/>
        </p:nvSpPr>
        <p:spPr>
          <a:xfrm>
            <a:off x="8614709" y="5519780"/>
            <a:ext cx="957788" cy="1488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rgbClr val="575757"/>
                </a:solidFill>
                <a:sym typeface="Trebuchet MS" panose="020B0603020202020204" pitchFamily="34" charset="0"/>
              </a:rPr>
              <a:t>Increase</a:t>
            </a:r>
          </a:p>
        </p:txBody>
      </p:sp>
      <p:sp>
        <p:nvSpPr>
          <p:cNvPr id="162" name="Oval 20">
            <a:extLst>
              <a:ext uri="{FF2B5EF4-FFF2-40B4-BE49-F238E27FC236}">
                <a16:creationId xmlns:a16="http://schemas.microsoft.com/office/drawing/2014/main" id="{1CC7B1A7-9FB7-491F-8449-85FF9190CE9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355824" y="5498967"/>
            <a:ext cx="190567" cy="190500"/>
          </a:xfrm>
          <a:prstGeom prst="ellipse">
            <a:avLst/>
          </a:prstGeom>
          <a:solidFill>
            <a:srgbClr val="9A9A9A"/>
          </a:solidFill>
          <a:ln w="9525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200" dirty="0">
              <a:solidFill>
                <a:srgbClr val="575757"/>
              </a:solidFill>
              <a:sym typeface="Trebuchet MS" panose="020B0603020202020204" pitchFamily="34" charset="0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50543635-7FC7-489C-AAB4-B34B18B1F4E6}"/>
              </a:ext>
            </a:extLst>
          </p:cNvPr>
          <p:cNvSpPr/>
          <p:nvPr/>
        </p:nvSpPr>
        <p:spPr>
          <a:xfrm>
            <a:off x="9541935" y="5519780"/>
            <a:ext cx="957788" cy="1488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rgbClr val="575757"/>
                </a:solidFill>
                <a:sym typeface="Trebuchet MS" panose="020B0603020202020204" pitchFamily="34" charset="0"/>
              </a:rPr>
              <a:t>No change</a:t>
            </a:r>
          </a:p>
        </p:txBody>
      </p:sp>
      <p:sp>
        <p:nvSpPr>
          <p:cNvPr id="164" name="Oval 20">
            <a:extLst>
              <a:ext uri="{FF2B5EF4-FFF2-40B4-BE49-F238E27FC236}">
                <a16:creationId xmlns:a16="http://schemas.microsoft.com/office/drawing/2014/main" id="{D5C440FA-E21B-45DE-8C2E-96BFC6A24B2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429282" y="5498967"/>
            <a:ext cx="190567" cy="190500"/>
          </a:xfrm>
          <a:prstGeom prst="ellipse">
            <a:avLst/>
          </a:prstGeom>
          <a:solidFill>
            <a:srgbClr val="E71C57"/>
          </a:solidFill>
          <a:ln w="9525" cap="flat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200" dirty="0">
              <a:solidFill>
                <a:srgbClr val="575757"/>
              </a:solidFill>
              <a:sym typeface="Trebuchet MS" panose="020B0603020202020204" pitchFamily="34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37F9BBE7-172D-4B12-91D6-5C0786769AC3}"/>
              </a:ext>
            </a:extLst>
          </p:cNvPr>
          <p:cNvSpPr/>
          <p:nvPr/>
        </p:nvSpPr>
        <p:spPr>
          <a:xfrm>
            <a:off x="10605561" y="5519780"/>
            <a:ext cx="957788" cy="1488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rgbClr val="575757"/>
                </a:solidFill>
                <a:sym typeface="Trebuchet MS" panose="020B0603020202020204" pitchFamily="34" charset="0"/>
              </a:rPr>
              <a:t>Decrease</a:t>
            </a:r>
          </a:p>
        </p:txBody>
      </p:sp>
      <p:sp>
        <p:nvSpPr>
          <p:cNvPr id="183" name="Rectangle 182"/>
          <p:cNvSpPr/>
          <p:nvPr/>
        </p:nvSpPr>
        <p:spPr>
          <a:xfrm>
            <a:off x="4165598" y="1704842"/>
            <a:ext cx="513391" cy="51276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buFont typeface="Arial" panose="020B0604020202020204" pitchFamily="34" charset="0"/>
              <a:buChar char="​"/>
            </a:pPr>
            <a:r>
              <a:rPr lang="en-US" sz="1200" dirty="0">
                <a:solidFill>
                  <a:srgbClr val="295E7E"/>
                </a:solidFill>
                <a:sym typeface="Trebuchet MS" panose="020B0603020202020204" pitchFamily="34" charset="0"/>
              </a:rPr>
              <a:t>% change</a:t>
            </a:r>
            <a:endParaRPr lang="en-US" sz="1200" dirty="0">
              <a:solidFill>
                <a:srgbClr val="295E7E"/>
              </a:solidFill>
              <a:cs typeface="Henderson BCG Sans" panose="020B05020304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4" name="Rectangle 183"/>
          <p:cNvSpPr/>
          <p:nvPr/>
        </p:nvSpPr>
        <p:spPr>
          <a:xfrm>
            <a:off x="4678989" y="1704842"/>
            <a:ext cx="2053564" cy="2571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7315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295E7E"/>
                </a:solidFill>
                <a:sym typeface="Trebuchet MS" panose="020B0603020202020204" pitchFamily="34" charset="0"/>
              </a:rPr>
              <a:t>Domestic Sales</a:t>
            </a:r>
            <a:endParaRPr lang="en-US" sz="1200" dirty="0">
              <a:solidFill>
                <a:srgbClr val="295E7E"/>
              </a:solidFill>
              <a:cs typeface="Henderson BCG Sans" panose="020B05020304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5" name="Rectangle 184"/>
          <p:cNvSpPr/>
          <p:nvPr/>
        </p:nvSpPr>
        <p:spPr>
          <a:xfrm>
            <a:off x="6732553" y="1704842"/>
            <a:ext cx="1026782" cy="2571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7315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295E7E"/>
                </a:solidFill>
                <a:sym typeface="Trebuchet MS" panose="020B0603020202020204" pitchFamily="34" charset="0"/>
              </a:rPr>
              <a:t>Exports</a:t>
            </a:r>
            <a:endParaRPr lang="en-US" sz="1200" dirty="0">
              <a:solidFill>
                <a:srgbClr val="295E7E"/>
              </a:solidFill>
              <a:cs typeface="Henderson BCG Sans" panose="020B05020304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6" name="Rectangle 185"/>
          <p:cNvSpPr/>
          <p:nvPr/>
        </p:nvSpPr>
        <p:spPr>
          <a:xfrm>
            <a:off x="4678989" y="1962017"/>
            <a:ext cx="513391" cy="2555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buFont typeface="Arial" panose="020B0604020202020204" pitchFamily="34" charset="0"/>
              <a:buChar char="​"/>
            </a:pPr>
            <a:r>
              <a:rPr lang="en-US" sz="1200" dirty="0">
                <a:solidFill>
                  <a:srgbClr val="295E7E"/>
                </a:solidFill>
                <a:sym typeface="Trebuchet MS" panose="020B0603020202020204" pitchFamily="34" charset="0"/>
              </a:rPr>
              <a:t>N</a:t>
            </a:r>
          </a:p>
        </p:txBody>
      </p:sp>
      <p:sp>
        <p:nvSpPr>
          <p:cNvPr id="187" name="Rectangle 186"/>
          <p:cNvSpPr/>
          <p:nvPr/>
        </p:nvSpPr>
        <p:spPr>
          <a:xfrm>
            <a:off x="5192380" y="1962017"/>
            <a:ext cx="513391" cy="2555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buFont typeface="Arial" panose="020B0604020202020204" pitchFamily="34" charset="0"/>
              <a:buChar char="​"/>
            </a:pPr>
            <a:r>
              <a:rPr lang="en-US" sz="1200" dirty="0">
                <a:solidFill>
                  <a:srgbClr val="295E7E"/>
                </a:solidFill>
                <a:sym typeface="Trebuchet MS" panose="020B0603020202020204" pitchFamily="34" charset="0"/>
              </a:rPr>
              <a:t>E</a:t>
            </a:r>
          </a:p>
        </p:txBody>
      </p:sp>
      <p:sp>
        <p:nvSpPr>
          <p:cNvPr id="188" name="Rectangle 187"/>
          <p:cNvSpPr/>
          <p:nvPr/>
        </p:nvSpPr>
        <p:spPr>
          <a:xfrm>
            <a:off x="5705771" y="1962017"/>
            <a:ext cx="513391" cy="2555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buFont typeface="Arial" panose="020B0604020202020204" pitchFamily="34" charset="0"/>
              <a:buChar char="​"/>
            </a:pPr>
            <a:r>
              <a:rPr lang="en-US" sz="1200" dirty="0">
                <a:solidFill>
                  <a:srgbClr val="295E7E"/>
                </a:solidFill>
                <a:sym typeface="Trebuchet MS" panose="020B0603020202020204" pitchFamily="34" charset="0"/>
              </a:rPr>
              <a:t>W</a:t>
            </a:r>
          </a:p>
        </p:txBody>
      </p:sp>
      <p:sp>
        <p:nvSpPr>
          <p:cNvPr id="189" name="Rectangle 188"/>
          <p:cNvSpPr/>
          <p:nvPr/>
        </p:nvSpPr>
        <p:spPr>
          <a:xfrm>
            <a:off x="6219162" y="1962017"/>
            <a:ext cx="513391" cy="2555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buFont typeface="Arial" panose="020B0604020202020204" pitchFamily="34" charset="0"/>
              <a:buChar char="​"/>
            </a:pPr>
            <a:r>
              <a:rPr lang="en-US" sz="1200" dirty="0">
                <a:solidFill>
                  <a:srgbClr val="295E7E"/>
                </a:solidFill>
                <a:sym typeface="Trebuchet MS" panose="020B0603020202020204" pitchFamily="34" charset="0"/>
              </a:rPr>
              <a:t>S</a:t>
            </a:r>
          </a:p>
        </p:txBody>
      </p:sp>
      <p:sp>
        <p:nvSpPr>
          <p:cNvPr id="190" name="Rectangle 189"/>
          <p:cNvSpPr/>
          <p:nvPr/>
        </p:nvSpPr>
        <p:spPr>
          <a:xfrm>
            <a:off x="6732553" y="1962017"/>
            <a:ext cx="513391" cy="2555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buFont typeface="Arial" panose="020B0604020202020204" pitchFamily="34" charset="0"/>
              <a:buChar char="​"/>
            </a:pPr>
            <a:r>
              <a:rPr lang="en-US" sz="1200" dirty="0">
                <a:solidFill>
                  <a:srgbClr val="295E7E"/>
                </a:solidFill>
                <a:sym typeface="Trebuchet MS" panose="020B0603020202020204" pitchFamily="34" charset="0"/>
              </a:rPr>
              <a:t>SAARC</a:t>
            </a:r>
            <a:endParaRPr lang="en-US" sz="1200" dirty="0">
              <a:solidFill>
                <a:srgbClr val="295E7E"/>
              </a:solidFill>
              <a:cs typeface="Henderson BCG Sans" panose="020B05020304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1" name="Rectangle 190"/>
          <p:cNvSpPr/>
          <p:nvPr/>
        </p:nvSpPr>
        <p:spPr>
          <a:xfrm>
            <a:off x="7245944" y="1962017"/>
            <a:ext cx="513391" cy="2555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buFont typeface="Arial" panose="020B0604020202020204" pitchFamily="34" charset="0"/>
              <a:buChar char="​"/>
            </a:pPr>
            <a:r>
              <a:rPr lang="en-US" sz="1200" dirty="0">
                <a:solidFill>
                  <a:srgbClr val="295E7E"/>
                </a:solidFill>
                <a:sym typeface="Trebuchet MS" panose="020B0603020202020204" pitchFamily="34" charset="0"/>
              </a:rPr>
              <a:t>Others</a:t>
            </a:r>
            <a:endParaRPr lang="en-US" sz="1200" dirty="0">
              <a:solidFill>
                <a:srgbClr val="295E7E"/>
              </a:solidFill>
              <a:cs typeface="Henderson BCG Sans" panose="020B05020304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192" name="Straight Connector 191"/>
          <p:cNvCxnSpPr/>
          <p:nvPr/>
        </p:nvCxnSpPr>
        <p:spPr>
          <a:xfrm flipV="1">
            <a:off x="4165598" y="2217605"/>
            <a:ext cx="3593737" cy="0"/>
          </a:xfrm>
          <a:prstGeom prst="line">
            <a:avLst/>
          </a:prstGeom>
          <a:ln w="9525" cap="rnd" cmpd="sng" algn="ctr">
            <a:solidFill>
              <a:srgbClr val="9A9A9A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Rectangle 192"/>
          <p:cNvSpPr/>
          <p:nvPr/>
        </p:nvSpPr>
        <p:spPr>
          <a:xfrm>
            <a:off x="7969614" y="1704842"/>
            <a:ext cx="513391" cy="51276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buFont typeface="Arial" panose="020B0604020202020204" pitchFamily="34" charset="0"/>
              <a:buChar char="​"/>
            </a:pPr>
            <a:r>
              <a:rPr lang="en-US" sz="1200" dirty="0">
                <a:solidFill>
                  <a:srgbClr val="295E7E"/>
                </a:solidFill>
                <a:sym typeface="Trebuchet MS" panose="020B0603020202020204" pitchFamily="34" charset="0"/>
              </a:rPr>
              <a:t>% change</a:t>
            </a:r>
            <a:endParaRPr lang="en-US" sz="1200" dirty="0">
              <a:solidFill>
                <a:srgbClr val="295E7E"/>
              </a:solidFill>
              <a:cs typeface="Henderson BCG Sans" panose="020B05020304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4" name="Rectangle 193"/>
          <p:cNvSpPr/>
          <p:nvPr/>
        </p:nvSpPr>
        <p:spPr>
          <a:xfrm>
            <a:off x="8483005" y="1704842"/>
            <a:ext cx="2053563" cy="2571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7315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295E7E"/>
                </a:solidFill>
                <a:sym typeface="Trebuchet MS" panose="020B0603020202020204" pitchFamily="34" charset="0"/>
              </a:rPr>
              <a:t>Domestic Sales</a:t>
            </a:r>
            <a:endParaRPr lang="en-US" sz="1200" dirty="0">
              <a:solidFill>
                <a:srgbClr val="295E7E"/>
              </a:solidFill>
              <a:cs typeface="Henderson BCG Sans" panose="020B05020304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5" name="Rectangle 194"/>
          <p:cNvSpPr/>
          <p:nvPr/>
        </p:nvSpPr>
        <p:spPr>
          <a:xfrm>
            <a:off x="10536569" y="1704842"/>
            <a:ext cx="1026783" cy="2571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73152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295E7E"/>
                </a:solidFill>
                <a:sym typeface="Trebuchet MS" panose="020B0603020202020204" pitchFamily="34" charset="0"/>
              </a:rPr>
              <a:t>Exports</a:t>
            </a:r>
            <a:endParaRPr lang="en-US" sz="1200" dirty="0">
              <a:solidFill>
                <a:srgbClr val="295E7E"/>
              </a:solidFill>
              <a:cs typeface="Henderson BCG Sans" panose="020B05020304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6" name="Rectangle 195"/>
          <p:cNvSpPr/>
          <p:nvPr/>
        </p:nvSpPr>
        <p:spPr>
          <a:xfrm>
            <a:off x="8483005" y="1962017"/>
            <a:ext cx="513391" cy="2555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buFont typeface="Arial" panose="020B0604020202020204" pitchFamily="34" charset="0"/>
              <a:buChar char="​"/>
            </a:pPr>
            <a:r>
              <a:rPr lang="en-US" sz="1200" dirty="0">
                <a:solidFill>
                  <a:srgbClr val="295E7E"/>
                </a:solidFill>
                <a:sym typeface="Trebuchet MS" panose="020B0603020202020204" pitchFamily="34" charset="0"/>
              </a:rPr>
              <a:t>N</a:t>
            </a:r>
          </a:p>
        </p:txBody>
      </p:sp>
      <p:sp>
        <p:nvSpPr>
          <p:cNvPr id="197" name="Rectangle 196"/>
          <p:cNvSpPr/>
          <p:nvPr/>
        </p:nvSpPr>
        <p:spPr>
          <a:xfrm>
            <a:off x="8996396" y="1962017"/>
            <a:ext cx="513391" cy="2555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buFont typeface="Arial" panose="020B0604020202020204" pitchFamily="34" charset="0"/>
              <a:buChar char="​"/>
            </a:pPr>
            <a:r>
              <a:rPr lang="en-US" sz="1200" dirty="0">
                <a:solidFill>
                  <a:srgbClr val="295E7E"/>
                </a:solidFill>
                <a:sym typeface="Trebuchet MS" panose="020B0603020202020204" pitchFamily="34" charset="0"/>
              </a:rPr>
              <a:t>E</a:t>
            </a:r>
          </a:p>
        </p:txBody>
      </p:sp>
      <p:sp>
        <p:nvSpPr>
          <p:cNvPr id="198" name="Rectangle 197"/>
          <p:cNvSpPr/>
          <p:nvPr/>
        </p:nvSpPr>
        <p:spPr>
          <a:xfrm>
            <a:off x="9509787" y="1962017"/>
            <a:ext cx="513391" cy="2555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buFont typeface="Arial" panose="020B0604020202020204" pitchFamily="34" charset="0"/>
              <a:buChar char="​"/>
            </a:pPr>
            <a:r>
              <a:rPr lang="en-US" sz="1200" dirty="0">
                <a:solidFill>
                  <a:srgbClr val="295E7E"/>
                </a:solidFill>
                <a:sym typeface="Trebuchet MS" panose="020B0603020202020204" pitchFamily="34" charset="0"/>
              </a:rPr>
              <a:t>W</a:t>
            </a:r>
          </a:p>
        </p:txBody>
      </p:sp>
      <p:sp>
        <p:nvSpPr>
          <p:cNvPr id="199" name="Rectangle 198"/>
          <p:cNvSpPr/>
          <p:nvPr/>
        </p:nvSpPr>
        <p:spPr>
          <a:xfrm>
            <a:off x="10023178" y="1962017"/>
            <a:ext cx="513391" cy="2555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buFont typeface="Arial" panose="020B0604020202020204" pitchFamily="34" charset="0"/>
              <a:buChar char="​"/>
            </a:pPr>
            <a:r>
              <a:rPr lang="en-US" sz="1200" dirty="0">
                <a:solidFill>
                  <a:srgbClr val="295E7E"/>
                </a:solidFill>
                <a:sym typeface="Trebuchet MS" panose="020B0603020202020204" pitchFamily="34" charset="0"/>
              </a:rPr>
              <a:t>S</a:t>
            </a:r>
          </a:p>
        </p:txBody>
      </p:sp>
      <p:sp>
        <p:nvSpPr>
          <p:cNvPr id="200" name="Rectangle 199"/>
          <p:cNvSpPr/>
          <p:nvPr/>
        </p:nvSpPr>
        <p:spPr>
          <a:xfrm>
            <a:off x="10536569" y="1962017"/>
            <a:ext cx="513391" cy="2555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buFont typeface="Arial" panose="020B0604020202020204" pitchFamily="34" charset="0"/>
              <a:buChar char="​"/>
            </a:pPr>
            <a:r>
              <a:rPr lang="en-US" sz="1200" dirty="0">
                <a:solidFill>
                  <a:srgbClr val="295E7E"/>
                </a:solidFill>
                <a:sym typeface="Trebuchet MS" panose="020B0603020202020204" pitchFamily="34" charset="0"/>
              </a:rPr>
              <a:t>SAARC</a:t>
            </a:r>
            <a:endParaRPr lang="en-US" sz="1200" dirty="0">
              <a:solidFill>
                <a:srgbClr val="295E7E"/>
              </a:solidFill>
              <a:cs typeface="Henderson BCG Sans" panose="020B05020304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1" name="Rectangle 200"/>
          <p:cNvSpPr/>
          <p:nvPr/>
        </p:nvSpPr>
        <p:spPr>
          <a:xfrm>
            <a:off x="11049960" y="1962017"/>
            <a:ext cx="513391" cy="2555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buFont typeface="Arial" panose="020B0604020202020204" pitchFamily="34" charset="0"/>
              <a:buChar char="​"/>
            </a:pPr>
            <a:r>
              <a:rPr lang="en-US" sz="1200" dirty="0">
                <a:solidFill>
                  <a:srgbClr val="295E7E"/>
                </a:solidFill>
                <a:sym typeface="Trebuchet MS" panose="020B0603020202020204" pitchFamily="34" charset="0"/>
              </a:rPr>
              <a:t>Others</a:t>
            </a:r>
            <a:endParaRPr lang="en-US" sz="1200" dirty="0">
              <a:solidFill>
                <a:srgbClr val="295E7E"/>
              </a:solidFill>
              <a:cs typeface="Henderson BCG Sans" panose="020B05020304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202" name="Straight Connector 201"/>
          <p:cNvCxnSpPr/>
          <p:nvPr/>
        </p:nvCxnSpPr>
        <p:spPr>
          <a:xfrm flipV="1">
            <a:off x="7969614" y="2217605"/>
            <a:ext cx="3593737" cy="0"/>
          </a:xfrm>
          <a:prstGeom prst="line">
            <a:avLst/>
          </a:prstGeom>
          <a:ln w="9525" cap="rnd" cmpd="sng" algn="ctr">
            <a:solidFill>
              <a:srgbClr val="9A9A9A">
                <a:lumMod val="100000"/>
              </a:srgb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ee4pFootnotes">
            <a:extLst>
              <a:ext uri="{FF2B5EF4-FFF2-40B4-BE49-F238E27FC236}">
                <a16:creationId xmlns:a16="http://schemas.microsoft.com/office/drawing/2014/main" id="{D56564A6-2389-425C-822F-8A1846BA5A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873" y="6116717"/>
            <a:ext cx="9907244" cy="3323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sym typeface="Trebuchet MS" panose="020B0603020202020204" pitchFamily="34" charset="0"/>
              </a:rPr>
              <a:t>1. Previous time period had zero sales 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sym typeface="Trebuchet MS" panose="020B0603020202020204" pitchFamily="34" charset="0"/>
              </a:rPr>
              <a:t>Note: NEWS–refers to regions in India, namely, north, east, west and south; SAARC refers to the South Asian Association for Regional Cooperation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sym typeface="Trebuchet MS" panose="020B0603020202020204" pitchFamily="34" charset="0"/>
              </a:rPr>
              <a:t>Source: ICEMA</a:t>
            </a: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D41846D7-F1C5-4F12-8337-1E454412022D}"/>
              </a:ext>
            </a:extLst>
          </p:cNvPr>
          <p:cNvSpPr/>
          <p:nvPr/>
        </p:nvSpPr>
        <p:spPr>
          <a:xfrm>
            <a:off x="1284971" y="4918842"/>
            <a:ext cx="1033986" cy="3683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200" b="1" dirty="0">
                <a:solidFill>
                  <a:srgbClr val="575757"/>
                </a:solidFill>
                <a:sym typeface="Trebuchet MS" panose="020B0603020202020204" pitchFamily="34" charset="0"/>
              </a:rPr>
              <a:t>Material</a:t>
            </a:r>
          </a:p>
          <a:p>
            <a:r>
              <a:rPr lang="en-US" sz="1200" b="1" dirty="0">
                <a:solidFill>
                  <a:srgbClr val="575757"/>
                </a:solidFill>
                <a:sym typeface="Trebuchet MS" panose="020B0603020202020204" pitchFamily="34" charset="0"/>
              </a:rPr>
              <a:t>processing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998DA4D4-3427-4F6A-8373-1EC6DACE2A77}"/>
              </a:ext>
            </a:extLst>
          </p:cNvPr>
          <p:cNvSpPr txBox="1"/>
          <p:nvPr/>
        </p:nvSpPr>
        <p:spPr>
          <a:xfrm>
            <a:off x="2023569" y="1897130"/>
            <a:ext cx="904968" cy="1682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sym typeface="Trebuchet MS" panose="020B0603020202020204" pitchFamily="34" charset="0"/>
              </a:rPr>
              <a:t>Units sold</a:t>
            </a:r>
          </a:p>
        </p:txBody>
      </p:sp>
      <p:graphicFrame>
        <p:nvGraphicFramePr>
          <p:cNvPr id="244" name="Table 244">
            <a:extLst>
              <a:ext uri="{FF2B5EF4-FFF2-40B4-BE49-F238E27FC236}">
                <a16:creationId xmlns:a16="http://schemas.microsoft.com/office/drawing/2014/main" id="{9B4A3610-251E-4C22-9BCD-B30AAAB109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7140445"/>
              </p:ext>
            </p:extLst>
          </p:nvPr>
        </p:nvGraphicFramePr>
        <p:xfrm>
          <a:off x="4177817" y="2248405"/>
          <a:ext cx="3580297" cy="3946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471">
                  <a:extLst>
                    <a:ext uri="{9D8B030D-6E8A-4147-A177-3AD203B41FA5}">
                      <a16:colId xmlns:a16="http://schemas.microsoft.com/office/drawing/2014/main" val="729485097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3566686698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3177884124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1907564147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1566298094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2650342346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2266836437"/>
                    </a:ext>
                  </a:extLst>
                </a:gridCol>
              </a:tblGrid>
              <a:tr h="39462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1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10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5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42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5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3922414"/>
                  </a:ext>
                </a:extLst>
              </a:tr>
            </a:tbl>
          </a:graphicData>
        </a:graphic>
      </p:graphicFrame>
      <p:graphicFrame>
        <p:nvGraphicFramePr>
          <p:cNvPr id="181" name="Table 244">
            <a:extLst>
              <a:ext uri="{FF2B5EF4-FFF2-40B4-BE49-F238E27FC236}">
                <a16:creationId xmlns:a16="http://schemas.microsoft.com/office/drawing/2014/main" id="{9EE9EDA2-B3F8-4A79-80D7-CB5F550064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1823476"/>
              </p:ext>
            </p:extLst>
          </p:nvPr>
        </p:nvGraphicFramePr>
        <p:xfrm>
          <a:off x="4177817" y="2914172"/>
          <a:ext cx="3580297" cy="3946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471">
                  <a:extLst>
                    <a:ext uri="{9D8B030D-6E8A-4147-A177-3AD203B41FA5}">
                      <a16:colId xmlns:a16="http://schemas.microsoft.com/office/drawing/2014/main" val="729485097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3566686698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3177884124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1907564147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1566298094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2650342346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2266836437"/>
                    </a:ext>
                  </a:extLst>
                </a:gridCol>
              </a:tblGrid>
              <a:tr h="39462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16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9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9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100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45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3922414"/>
                  </a:ext>
                </a:extLst>
              </a:tr>
            </a:tbl>
          </a:graphicData>
        </a:graphic>
      </p:graphicFrame>
      <p:graphicFrame>
        <p:nvGraphicFramePr>
          <p:cNvPr id="182" name="Table 244">
            <a:extLst>
              <a:ext uri="{FF2B5EF4-FFF2-40B4-BE49-F238E27FC236}">
                <a16:creationId xmlns:a16="http://schemas.microsoft.com/office/drawing/2014/main" id="{671B48B8-8596-4AD9-B6F2-FD85B704AA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3394657"/>
              </p:ext>
            </p:extLst>
          </p:nvPr>
        </p:nvGraphicFramePr>
        <p:xfrm>
          <a:off x="4177817" y="3548631"/>
          <a:ext cx="3580297" cy="3946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471">
                  <a:extLst>
                    <a:ext uri="{9D8B030D-6E8A-4147-A177-3AD203B41FA5}">
                      <a16:colId xmlns:a16="http://schemas.microsoft.com/office/drawing/2014/main" val="729485097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3566686698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3177884124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1907564147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1566298094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2650342346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2266836437"/>
                    </a:ext>
                  </a:extLst>
                </a:gridCol>
              </a:tblGrid>
              <a:tr h="39462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15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32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4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6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13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20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13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3922414"/>
                  </a:ext>
                </a:extLst>
              </a:tr>
            </a:tbl>
          </a:graphicData>
        </a:graphic>
      </p:graphicFrame>
      <p:graphicFrame>
        <p:nvGraphicFramePr>
          <p:cNvPr id="203" name="Table 244">
            <a:extLst>
              <a:ext uri="{FF2B5EF4-FFF2-40B4-BE49-F238E27FC236}">
                <a16:creationId xmlns:a16="http://schemas.microsoft.com/office/drawing/2014/main" id="{B976377C-9A54-4C51-9766-9B0A82F7B6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7061606"/>
              </p:ext>
            </p:extLst>
          </p:nvPr>
        </p:nvGraphicFramePr>
        <p:xfrm>
          <a:off x="4177817" y="4168527"/>
          <a:ext cx="3580297" cy="3729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471">
                  <a:extLst>
                    <a:ext uri="{9D8B030D-6E8A-4147-A177-3AD203B41FA5}">
                      <a16:colId xmlns:a16="http://schemas.microsoft.com/office/drawing/2014/main" val="729485097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3566686698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3177884124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1907564147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1566298094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2650342346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2266836437"/>
                    </a:ext>
                  </a:extLst>
                </a:gridCol>
              </a:tblGrid>
              <a:tr h="37299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1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17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39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21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300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128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3922414"/>
                  </a:ext>
                </a:extLst>
              </a:tr>
            </a:tbl>
          </a:graphicData>
        </a:graphic>
      </p:graphicFrame>
      <p:graphicFrame>
        <p:nvGraphicFramePr>
          <p:cNvPr id="204" name="Table 244">
            <a:extLst>
              <a:ext uri="{FF2B5EF4-FFF2-40B4-BE49-F238E27FC236}">
                <a16:creationId xmlns:a16="http://schemas.microsoft.com/office/drawing/2014/main" id="{F9187503-34FF-4CE4-B65F-C88792DFC5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0819821"/>
              </p:ext>
            </p:extLst>
          </p:nvPr>
        </p:nvGraphicFramePr>
        <p:xfrm>
          <a:off x="4177817" y="4852317"/>
          <a:ext cx="3580297" cy="3946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471">
                  <a:extLst>
                    <a:ext uri="{9D8B030D-6E8A-4147-A177-3AD203B41FA5}">
                      <a16:colId xmlns:a16="http://schemas.microsoft.com/office/drawing/2014/main" val="729485097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3566686698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3177884124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1907564147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1566298094"/>
                    </a:ext>
                  </a:extLst>
                </a:gridCol>
                <a:gridCol w="477286">
                  <a:extLst>
                    <a:ext uri="{9D8B030D-6E8A-4147-A177-3AD203B41FA5}">
                      <a16:colId xmlns:a16="http://schemas.microsoft.com/office/drawing/2014/main" val="2650342346"/>
                    </a:ext>
                  </a:extLst>
                </a:gridCol>
                <a:gridCol w="545656">
                  <a:extLst>
                    <a:ext uri="{9D8B030D-6E8A-4147-A177-3AD203B41FA5}">
                      <a16:colId xmlns:a16="http://schemas.microsoft.com/office/drawing/2014/main" val="2266836437"/>
                    </a:ext>
                  </a:extLst>
                </a:gridCol>
              </a:tblGrid>
              <a:tr h="39462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17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21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20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4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100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41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3922414"/>
                  </a:ext>
                </a:extLst>
              </a:tr>
            </a:tbl>
          </a:graphicData>
        </a:graphic>
      </p:graphicFrame>
      <p:graphicFrame>
        <p:nvGraphicFramePr>
          <p:cNvPr id="205" name="Table 244">
            <a:extLst>
              <a:ext uri="{FF2B5EF4-FFF2-40B4-BE49-F238E27FC236}">
                <a16:creationId xmlns:a16="http://schemas.microsoft.com/office/drawing/2014/main" id="{D974B72B-E219-4EB2-9945-5B5A78BD49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4470641"/>
              </p:ext>
            </p:extLst>
          </p:nvPr>
        </p:nvGraphicFramePr>
        <p:xfrm>
          <a:off x="8017217" y="2291181"/>
          <a:ext cx="3580297" cy="3946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471">
                  <a:extLst>
                    <a:ext uri="{9D8B030D-6E8A-4147-A177-3AD203B41FA5}">
                      <a16:colId xmlns:a16="http://schemas.microsoft.com/office/drawing/2014/main" val="729485097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3566686698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3177884124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1907564147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1566298094"/>
                    </a:ext>
                  </a:extLst>
                </a:gridCol>
                <a:gridCol w="585663">
                  <a:extLst>
                    <a:ext uri="{9D8B030D-6E8A-4147-A177-3AD203B41FA5}">
                      <a16:colId xmlns:a16="http://schemas.microsoft.com/office/drawing/2014/main" val="2650342346"/>
                    </a:ext>
                  </a:extLst>
                </a:gridCol>
                <a:gridCol w="437279">
                  <a:extLst>
                    <a:ext uri="{9D8B030D-6E8A-4147-A177-3AD203B41FA5}">
                      <a16:colId xmlns:a16="http://schemas.microsoft.com/office/drawing/2014/main" val="2266836437"/>
                    </a:ext>
                  </a:extLst>
                </a:gridCol>
              </a:tblGrid>
              <a:tr h="39462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13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20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16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21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5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24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35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3922414"/>
                  </a:ext>
                </a:extLst>
              </a:tr>
            </a:tbl>
          </a:graphicData>
        </a:graphic>
      </p:graphicFrame>
      <p:graphicFrame>
        <p:nvGraphicFramePr>
          <p:cNvPr id="206" name="Table 244">
            <a:extLst>
              <a:ext uri="{FF2B5EF4-FFF2-40B4-BE49-F238E27FC236}">
                <a16:creationId xmlns:a16="http://schemas.microsoft.com/office/drawing/2014/main" id="{322DA492-8C53-4680-8D5E-A51035BDE1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3525728"/>
              </p:ext>
            </p:extLst>
          </p:nvPr>
        </p:nvGraphicFramePr>
        <p:xfrm>
          <a:off x="8017217" y="2884002"/>
          <a:ext cx="3580297" cy="4252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471">
                  <a:extLst>
                    <a:ext uri="{9D8B030D-6E8A-4147-A177-3AD203B41FA5}">
                      <a16:colId xmlns:a16="http://schemas.microsoft.com/office/drawing/2014/main" val="729485097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3566686698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3177884124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1907564147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1566298094"/>
                    </a:ext>
                  </a:extLst>
                </a:gridCol>
                <a:gridCol w="486549">
                  <a:extLst>
                    <a:ext uri="{9D8B030D-6E8A-4147-A177-3AD203B41FA5}">
                      <a16:colId xmlns:a16="http://schemas.microsoft.com/office/drawing/2014/main" val="2650342346"/>
                    </a:ext>
                  </a:extLst>
                </a:gridCol>
                <a:gridCol w="536393">
                  <a:extLst>
                    <a:ext uri="{9D8B030D-6E8A-4147-A177-3AD203B41FA5}">
                      <a16:colId xmlns:a16="http://schemas.microsoft.com/office/drawing/2014/main" val="2266836437"/>
                    </a:ext>
                  </a:extLst>
                </a:gridCol>
              </a:tblGrid>
              <a:tr h="425255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64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84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76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71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45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100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23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3922414"/>
                  </a:ext>
                </a:extLst>
              </a:tr>
            </a:tbl>
          </a:graphicData>
        </a:graphic>
      </p:graphicFrame>
      <p:graphicFrame>
        <p:nvGraphicFramePr>
          <p:cNvPr id="207" name="Table 244">
            <a:extLst>
              <a:ext uri="{FF2B5EF4-FFF2-40B4-BE49-F238E27FC236}">
                <a16:creationId xmlns:a16="http://schemas.microsoft.com/office/drawing/2014/main" id="{3966D4D4-5F1C-479C-B2AD-776F81DA9C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4026315"/>
              </p:ext>
            </p:extLst>
          </p:nvPr>
        </p:nvGraphicFramePr>
        <p:xfrm>
          <a:off x="8017217" y="3548631"/>
          <a:ext cx="3580297" cy="3946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471">
                  <a:extLst>
                    <a:ext uri="{9D8B030D-6E8A-4147-A177-3AD203B41FA5}">
                      <a16:colId xmlns:a16="http://schemas.microsoft.com/office/drawing/2014/main" val="729485097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3566686698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3177884124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1907564147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1566298094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2650342346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2266836437"/>
                    </a:ext>
                  </a:extLst>
                </a:gridCol>
              </a:tblGrid>
              <a:tr h="39462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14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7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25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76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600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3922414"/>
                  </a:ext>
                </a:extLst>
              </a:tr>
            </a:tbl>
          </a:graphicData>
        </a:graphic>
      </p:graphicFrame>
      <p:graphicFrame>
        <p:nvGraphicFramePr>
          <p:cNvPr id="208" name="Table 244">
            <a:extLst>
              <a:ext uri="{FF2B5EF4-FFF2-40B4-BE49-F238E27FC236}">
                <a16:creationId xmlns:a16="http://schemas.microsoft.com/office/drawing/2014/main" id="{BE59E450-5B34-4520-802B-BA2382525B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225583"/>
              </p:ext>
            </p:extLst>
          </p:nvPr>
        </p:nvGraphicFramePr>
        <p:xfrm>
          <a:off x="8017217" y="4178801"/>
          <a:ext cx="3580297" cy="3946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471">
                  <a:extLst>
                    <a:ext uri="{9D8B030D-6E8A-4147-A177-3AD203B41FA5}">
                      <a16:colId xmlns:a16="http://schemas.microsoft.com/office/drawing/2014/main" val="729485097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3566686698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3177884124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1907564147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1566298094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2650342346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2266836437"/>
                    </a:ext>
                  </a:extLst>
                </a:gridCol>
              </a:tblGrid>
              <a:tr h="394626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80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128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109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36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70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3922414"/>
                  </a:ext>
                </a:extLst>
              </a:tr>
            </a:tbl>
          </a:graphicData>
        </a:graphic>
      </p:graphicFrame>
      <p:graphicFrame>
        <p:nvGraphicFramePr>
          <p:cNvPr id="209" name="Table 244">
            <a:extLst>
              <a:ext uri="{FF2B5EF4-FFF2-40B4-BE49-F238E27FC236}">
                <a16:creationId xmlns:a16="http://schemas.microsoft.com/office/drawing/2014/main" id="{DAC93E41-B612-40CF-A629-CB4ADEE091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4135177"/>
              </p:ext>
            </p:extLst>
          </p:nvPr>
        </p:nvGraphicFramePr>
        <p:xfrm>
          <a:off x="8017217" y="4945866"/>
          <a:ext cx="3580297" cy="2793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1471">
                  <a:extLst>
                    <a:ext uri="{9D8B030D-6E8A-4147-A177-3AD203B41FA5}">
                      <a16:colId xmlns:a16="http://schemas.microsoft.com/office/drawing/2014/main" val="729485097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3566686698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3177884124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1907564147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1566298094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2650342346"/>
                    </a:ext>
                  </a:extLst>
                </a:gridCol>
                <a:gridCol w="511471">
                  <a:extLst>
                    <a:ext uri="{9D8B030D-6E8A-4147-A177-3AD203B41FA5}">
                      <a16:colId xmlns:a16="http://schemas.microsoft.com/office/drawing/2014/main" val="2266836437"/>
                    </a:ext>
                  </a:extLst>
                </a:gridCol>
              </a:tblGrid>
              <a:tr h="279343"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12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15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16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CA0651"/>
                          </a:solidFill>
                          <a:effectLst/>
                          <a:latin typeface="Calibri" panose="020F0502020204030204" pitchFamily="34" charset="0"/>
                        </a:rPr>
                        <a:t>-31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19%</a:t>
                      </a: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3922414"/>
                  </a:ext>
                </a:extLst>
              </a:tr>
            </a:tbl>
          </a:graphicData>
        </a:graphic>
      </p:graphicFrame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0E544107-9CFD-4216-8EA5-864C9BDF3D61}"/>
              </a:ext>
            </a:extLst>
          </p:cNvPr>
          <p:cNvCxnSpPr/>
          <p:nvPr/>
        </p:nvCxnSpPr>
        <p:spPr>
          <a:xfrm>
            <a:off x="7978218" y="4130517"/>
            <a:ext cx="3593737" cy="0"/>
          </a:xfrm>
          <a:prstGeom prst="line">
            <a:avLst/>
          </a:prstGeom>
          <a:ln w="9525" cap="rnd" cmpd="sng" algn="ctr">
            <a:solidFill>
              <a:srgbClr val="9A9A9A">
                <a:lumMod val="100000"/>
              </a:srgb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9607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5966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" name="Rectangle 169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2897" y="203316"/>
            <a:ext cx="11654060" cy="332399"/>
          </a:xfrm>
        </p:spPr>
        <p:txBody>
          <a:bodyPr vert="horz" anchor="t"/>
          <a:lstStyle/>
          <a:p>
            <a:r>
              <a:rPr lang="en-US" dirty="0">
                <a:solidFill>
                  <a:schemeClr val="bg1"/>
                </a:solidFill>
              </a:rPr>
              <a:t>Region-wise Construction Equipment Sales</a:t>
            </a:r>
          </a:p>
        </p:txBody>
      </p:sp>
      <p:graphicFrame>
        <p:nvGraphicFramePr>
          <p:cNvPr id="2" name="Table 4">
            <a:extLst>
              <a:ext uri="{FF2B5EF4-FFF2-40B4-BE49-F238E27FC236}">
                <a16:creationId xmlns:a16="http://schemas.microsoft.com/office/drawing/2014/main" id="{48B5EE95-6D44-4B7F-8C74-3721F89F69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4431740"/>
              </p:ext>
            </p:extLst>
          </p:nvPr>
        </p:nvGraphicFramePr>
        <p:xfrm>
          <a:off x="638114" y="1441704"/>
          <a:ext cx="10915772" cy="4486656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774898">
                  <a:extLst>
                    <a:ext uri="{9D8B030D-6E8A-4147-A177-3AD203B41FA5}">
                      <a16:colId xmlns:a16="http://schemas.microsoft.com/office/drawing/2014/main" val="1538660341"/>
                    </a:ext>
                  </a:extLst>
                </a:gridCol>
                <a:gridCol w="352966">
                  <a:extLst>
                    <a:ext uri="{9D8B030D-6E8A-4147-A177-3AD203B41FA5}">
                      <a16:colId xmlns:a16="http://schemas.microsoft.com/office/drawing/2014/main" val="1262817923"/>
                    </a:ext>
                  </a:extLst>
                </a:gridCol>
                <a:gridCol w="329184">
                  <a:extLst>
                    <a:ext uri="{9D8B030D-6E8A-4147-A177-3AD203B41FA5}">
                      <a16:colId xmlns:a16="http://schemas.microsoft.com/office/drawing/2014/main" val="216053274"/>
                    </a:ext>
                  </a:extLst>
                </a:gridCol>
                <a:gridCol w="329184">
                  <a:extLst>
                    <a:ext uri="{9D8B030D-6E8A-4147-A177-3AD203B41FA5}">
                      <a16:colId xmlns:a16="http://schemas.microsoft.com/office/drawing/2014/main" val="345400521"/>
                    </a:ext>
                  </a:extLst>
                </a:gridCol>
                <a:gridCol w="329184">
                  <a:extLst>
                    <a:ext uri="{9D8B030D-6E8A-4147-A177-3AD203B41FA5}">
                      <a16:colId xmlns:a16="http://schemas.microsoft.com/office/drawing/2014/main" val="1024817509"/>
                    </a:ext>
                  </a:extLst>
                </a:gridCol>
                <a:gridCol w="329184">
                  <a:extLst>
                    <a:ext uri="{9D8B030D-6E8A-4147-A177-3AD203B41FA5}">
                      <a16:colId xmlns:a16="http://schemas.microsoft.com/office/drawing/2014/main" val="1832842366"/>
                    </a:ext>
                  </a:extLst>
                </a:gridCol>
                <a:gridCol w="423558">
                  <a:extLst>
                    <a:ext uri="{9D8B030D-6E8A-4147-A177-3AD203B41FA5}">
                      <a16:colId xmlns:a16="http://schemas.microsoft.com/office/drawing/2014/main" val="3562288928"/>
                    </a:ext>
                  </a:extLst>
                </a:gridCol>
                <a:gridCol w="423558">
                  <a:extLst>
                    <a:ext uri="{9D8B030D-6E8A-4147-A177-3AD203B41FA5}">
                      <a16:colId xmlns:a16="http://schemas.microsoft.com/office/drawing/2014/main" val="2848164146"/>
                    </a:ext>
                  </a:extLst>
                </a:gridCol>
                <a:gridCol w="423558">
                  <a:extLst>
                    <a:ext uri="{9D8B030D-6E8A-4147-A177-3AD203B41FA5}">
                      <a16:colId xmlns:a16="http://schemas.microsoft.com/office/drawing/2014/main" val="1392938923"/>
                    </a:ext>
                  </a:extLst>
                </a:gridCol>
                <a:gridCol w="423558">
                  <a:extLst>
                    <a:ext uri="{9D8B030D-6E8A-4147-A177-3AD203B41FA5}">
                      <a16:colId xmlns:a16="http://schemas.microsoft.com/office/drawing/2014/main" val="672331973"/>
                    </a:ext>
                  </a:extLst>
                </a:gridCol>
                <a:gridCol w="352966">
                  <a:extLst>
                    <a:ext uri="{9D8B030D-6E8A-4147-A177-3AD203B41FA5}">
                      <a16:colId xmlns:a16="http://schemas.microsoft.com/office/drawing/2014/main" val="1677996924"/>
                    </a:ext>
                  </a:extLst>
                </a:gridCol>
                <a:gridCol w="352966">
                  <a:extLst>
                    <a:ext uri="{9D8B030D-6E8A-4147-A177-3AD203B41FA5}">
                      <a16:colId xmlns:a16="http://schemas.microsoft.com/office/drawing/2014/main" val="178385392"/>
                    </a:ext>
                  </a:extLst>
                </a:gridCol>
                <a:gridCol w="352966">
                  <a:extLst>
                    <a:ext uri="{9D8B030D-6E8A-4147-A177-3AD203B41FA5}">
                      <a16:colId xmlns:a16="http://schemas.microsoft.com/office/drawing/2014/main" val="2060829189"/>
                    </a:ext>
                  </a:extLst>
                </a:gridCol>
                <a:gridCol w="352966">
                  <a:extLst>
                    <a:ext uri="{9D8B030D-6E8A-4147-A177-3AD203B41FA5}">
                      <a16:colId xmlns:a16="http://schemas.microsoft.com/office/drawing/2014/main" val="3526238889"/>
                    </a:ext>
                  </a:extLst>
                </a:gridCol>
                <a:gridCol w="352966">
                  <a:extLst>
                    <a:ext uri="{9D8B030D-6E8A-4147-A177-3AD203B41FA5}">
                      <a16:colId xmlns:a16="http://schemas.microsoft.com/office/drawing/2014/main" val="1832590197"/>
                    </a:ext>
                  </a:extLst>
                </a:gridCol>
                <a:gridCol w="352966">
                  <a:extLst>
                    <a:ext uri="{9D8B030D-6E8A-4147-A177-3AD203B41FA5}">
                      <a16:colId xmlns:a16="http://schemas.microsoft.com/office/drawing/2014/main" val="2202904714"/>
                    </a:ext>
                  </a:extLst>
                </a:gridCol>
                <a:gridCol w="423558">
                  <a:extLst>
                    <a:ext uri="{9D8B030D-6E8A-4147-A177-3AD203B41FA5}">
                      <a16:colId xmlns:a16="http://schemas.microsoft.com/office/drawing/2014/main" val="747325372"/>
                    </a:ext>
                  </a:extLst>
                </a:gridCol>
                <a:gridCol w="423558">
                  <a:extLst>
                    <a:ext uri="{9D8B030D-6E8A-4147-A177-3AD203B41FA5}">
                      <a16:colId xmlns:a16="http://schemas.microsoft.com/office/drawing/2014/main" val="910989668"/>
                    </a:ext>
                  </a:extLst>
                </a:gridCol>
                <a:gridCol w="423558">
                  <a:extLst>
                    <a:ext uri="{9D8B030D-6E8A-4147-A177-3AD203B41FA5}">
                      <a16:colId xmlns:a16="http://schemas.microsoft.com/office/drawing/2014/main" val="2911726769"/>
                    </a:ext>
                  </a:extLst>
                </a:gridCol>
                <a:gridCol w="352966">
                  <a:extLst>
                    <a:ext uri="{9D8B030D-6E8A-4147-A177-3AD203B41FA5}">
                      <a16:colId xmlns:a16="http://schemas.microsoft.com/office/drawing/2014/main" val="3895997198"/>
                    </a:ext>
                  </a:extLst>
                </a:gridCol>
                <a:gridCol w="352966">
                  <a:extLst>
                    <a:ext uri="{9D8B030D-6E8A-4147-A177-3AD203B41FA5}">
                      <a16:colId xmlns:a16="http://schemas.microsoft.com/office/drawing/2014/main" val="2087321974"/>
                    </a:ext>
                  </a:extLst>
                </a:gridCol>
                <a:gridCol w="352966">
                  <a:extLst>
                    <a:ext uri="{9D8B030D-6E8A-4147-A177-3AD203B41FA5}">
                      <a16:colId xmlns:a16="http://schemas.microsoft.com/office/drawing/2014/main" val="718029663"/>
                    </a:ext>
                  </a:extLst>
                </a:gridCol>
                <a:gridCol w="352966">
                  <a:extLst>
                    <a:ext uri="{9D8B030D-6E8A-4147-A177-3AD203B41FA5}">
                      <a16:colId xmlns:a16="http://schemas.microsoft.com/office/drawing/2014/main" val="862137909"/>
                    </a:ext>
                  </a:extLst>
                </a:gridCol>
                <a:gridCol w="352966">
                  <a:extLst>
                    <a:ext uri="{9D8B030D-6E8A-4147-A177-3AD203B41FA5}">
                      <a16:colId xmlns:a16="http://schemas.microsoft.com/office/drawing/2014/main" val="3190466396"/>
                    </a:ext>
                  </a:extLst>
                </a:gridCol>
                <a:gridCol w="352966">
                  <a:extLst>
                    <a:ext uri="{9D8B030D-6E8A-4147-A177-3AD203B41FA5}">
                      <a16:colId xmlns:a16="http://schemas.microsoft.com/office/drawing/2014/main" val="1265923312"/>
                    </a:ext>
                  </a:extLst>
                </a:gridCol>
                <a:gridCol w="423558">
                  <a:extLst>
                    <a:ext uri="{9D8B030D-6E8A-4147-A177-3AD203B41FA5}">
                      <a16:colId xmlns:a16="http://schemas.microsoft.com/office/drawing/2014/main" val="3892336590"/>
                    </a:ext>
                  </a:extLst>
                </a:gridCol>
                <a:gridCol w="423558">
                  <a:extLst>
                    <a:ext uri="{9D8B030D-6E8A-4147-A177-3AD203B41FA5}">
                      <a16:colId xmlns:a16="http://schemas.microsoft.com/office/drawing/2014/main" val="759621441"/>
                    </a:ext>
                  </a:extLst>
                </a:gridCol>
                <a:gridCol w="423558">
                  <a:extLst>
                    <a:ext uri="{9D8B030D-6E8A-4147-A177-3AD203B41FA5}">
                      <a16:colId xmlns:a16="http://schemas.microsoft.com/office/drawing/2014/main" val="226033184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rtl="0"/>
                      <a:endParaRPr lang="en-US" sz="1600" b="0" i="0" u="none" dirty="0">
                        <a:solidFill>
                          <a:srgbClr val="1E50A0"/>
                        </a:solidFill>
                        <a:latin typeface="+mn-lt"/>
                      </a:endParaRPr>
                    </a:p>
                  </a:txBody>
                  <a:tcPr marL="0" marR="72000" marT="73152" marB="73152" anchor="b"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9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600" b="1" i="0" u="none" dirty="0">
                          <a:solidFill>
                            <a:srgbClr val="1E50A0"/>
                          </a:solidFill>
                          <a:latin typeface="+mn-lt"/>
                        </a:rPr>
                        <a:t>June'22</a:t>
                      </a:r>
                    </a:p>
                  </a:txBody>
                  <a:tcPr marL="0" marR="72000" marT="73152" marB="73152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600" b="0" i="0" u="none" dirty="0">
                        <a:solidFill>
                          <a:srgbClr val="1E50A0"/>
                        </a:solidFill>
                        <a:latin typeface="+mn-lt"/>
                      </a:endParaRPr>
                    </a:p>
                  </a:txBody>
                  <a:tcPr marL="0" marR="72000" marT="73152" marB="73152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600" b="0" i="0" u="none" dirty="0">
                        <a:solidFill>
                          <a:srgbClr val="1E50A0"/>
                        </a:solidFill>
                        <a:latin typeface="+mn-lt"/>
                      </a:endParaRPr>
                    </a:p>
                  </a:txBody>
                  <a:tcPr marL="0" marR="72000" marT="73152" marB="73152" anchor="ctr">
                    <a:lnL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8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600" b="1" i="0" u="none" dirty="0">
                          <a:solidFill>
                            <a:srgbClr val="1E50A0"/>
                          </a:solidFill>
                          <a:latin typeface="+mn-lt"/>
                        </a:rPr>
                        <a:t>May'23</a:t>
                      </a:r>
                    </a:p>
                  </a:txBody>
                  <a:tcPr marL="0" marR="72000" marT="73152" marB="7315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600" b="0" i="0" u="none" dirty="0">
                        <a:solidFill>
                          <a:srgbClr val="1E50A0"/>
                        </a:solidFill>
                        <a:latin typeface="+mn-lt"/>
                      </a:endParaRPr>
                    </a:p>
                  </a:txBody>
                  <a:tcPr marL="0" marR="72000" marT="73152" marB="7315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600" b="1" i="0" u="none" dirty="0">
                        <a:solidFill>
                          <a:srgbClr val="1E50A0"/>
                        </a:solidFill>
                        <a:latin typeface="+mn-lt"/>
                      </a:endParaRPr>
                    </a:p>
                  </a:txBody>
                  <a:tcPr marL="0" marR="72000" marT="73152" marB="7315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9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600" b="1" i="0" u="none" dirty="0">
                          <a:solidFill>
                            <a:srgbClr val="1E50A0"/>
                          </a:solidFill>
                          <a:latin typeface="+mn-lt"/>
                        </a:rPr>
                        <a:t>June'23</a:t>
                      </a:r>
                    </a:p>
                  </a:txBody>
                  <a:tcPr marL="0" marR="72000" marT="73152" marB="7315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600" b="0" i="0" u="none" dirty="0">
                        <a:solidFill>
                          <a:srgbClr val="1E50A0"/>
                        </a:solidFill>
                        <a:latin typeface="+mn-lt"/>
                      </a:endParaRPr>
                    </a:p>
                  </a:txBody>
                  <a:tcPr marL="0" marR="72000" marT="73152" marB="7315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600" b="0" i="0" u="none" dirty="0">
                        <a:solidFill>
                          <a:srgbClr val="1E50A0"/>
                        </a:solidFill>
                        <a:latin typeface="+mn-lt"/>
                      </a:endParaRPr>
                    </a:p>
                  </a:txBody>
                  <a:tcPr marL="0" marR="72000" marT="73152" marB="73152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6375275"/>
                  </a:ext>
                </a:extLst>
              </a:tr>
              <a:tr h="512064">
                <a:tc>
                  <a:txBody>
                    <a:bodyPr/>
                    <a:lstStyle/>
                    <a:p>
                      <a:pPr rtl="0"/>
                      <a:endParaRPr lang="en-US" sz="1200" b="0" i="0" u="none" dirty="0">
                        <a:solidFill>
                          <a:srgbClr val="4CCAD8"/>
                        </a:solidFill>
                        <a:latin typeface="+mn-lt"/>
                      </a:endParaRPr>
                    </a:p>
                  </a:txBody>
                  <a:tcPr marL="0" marR="72000" marT="73152" marB="73152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i="0" u="none" dirty="0">
                        <a:solidFill>
                          <a:srgbClr val="4CCAD8"/>
                        </a:solidFill>
                        <a:latin typeface="+mn-lt"/>
                      </a:endParaRPr>
                    </a:p>
                  </a:txBody>
                  <a:tcPr marL="0" marR="72000" marT="73152" marB="73152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dirty="0">
                          <a:solidFill>
                            <a:srgbClr val="4CCAD8"/>
                          </a:solidFill>
                          <a:latin typeface="+mn-lt"/>
                        </a:rPr>
                        <a:t>Domestic Sales</a:t>
                      </a:r>
                    </a:p>
                  </a:txBody>
                  <a:tcPr marL="0" marR="72000" marT="73152" marB="73152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anchor="b">
                    <a:lnT>
                      <a:noFill/>
                    </a:lnT>
                    <a:lnB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anchor="b">
                    <a:lnT>
                      <a:noFill/>
                    </a:lnT>
                    <a:lnB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anchor="b">
                    <a:lnT>
                      <a:noFill/>
                    </a:lnT>
                    <a:lnB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i="0" u="none" dirty="0">
                        <a:solidFill>
                          <a:srgbClr val="4CCAD8"/>
                        </a:solidFill>
                        <a:latin typeface="+mn-lt"/>
                      </a:endParaRPr>
                    </a:p>
                  </a:txBody>
                  <a:tcPr marL="0" marR="72000" marT="73152" marB="73152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dirty="0">
                          <a:solidFill>
                            <a:srgbClr val="4CCAD8"/>
                          </a:solidFill>
                          <a:latin typeface="+mn-lt"/>
                        </a:rPr>
                        <a:t>Exports</a:t>
                      </a:r>
                    </a:p>
                  </a:txBody>
                  <a:tcPr marL="0" marR="72000" marT="73152" marB="73152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i="0" u="none" dirty="0">
                        <a:solidFill>
                          <a:srgbClr val="4CCAD8"/>
                        </a:solidFill>
                        <a:latin typeface="+mn-lt"/>
                      </a:endParaRPr>
                    </a:p>
                  </a:txBody>
                  <a:tcPr marL="0" marR="72000" marT="73152" marB="73152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i="0" u="none" dirty="0">
                        <a:solidFill>
                          <a:srgbClr val="4CCAD8"/>
                        </a:solidFill>
                        <a:latin typeface="+mn-lt"/>
                      </a:endParaRPr>
                    </a:p>
                  </a:txBody>
                  <a:tcPr marL="0" marR="72000" marT="73152" marB="7315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dirty="0">
                          <a:solidFill>
                            <a:srgbClr val="4CCAD8"/>
                          </a:solidFill>
                          <a:latin typeface="+mn-lt"/>
                        </a:rPr>
                        <a:t>Domestic Sales</a:t>
                      </a:r>
                    </a:p>
                  </a:txBody>
                  <a:tcPr marL="0" marR="72000" marT="73152" marB="73152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anchor="b">
                    <a:lnT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anchor="b">
                    <a:lnT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anchor="b">
                    <a:lnT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i="0" u="none" dirty="0">
                        <a:solidFill>
                          <a:srgbClr val="4CCAD8"/>
                        </a:solidFill>
                        <a:latin typeface="+mn-lt"/>
                      </a:endParaRPr>
                    </a:p>
                  </a:txBody>
                  <a:tcPr marL="0" marR="72000" marT="73152" marB="73152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dirty="0">
                          <a:solidFill>
                            <a:srgbClr val="4CCAD8"/>
                          </a:solidFill>
                          <a:latin typeface="+mn-lt"/>
                        </a:rPr>
                        <a:t>Exports</a:t>
                      </a:r>
                    </a:p>
                  </a:txBody>
                  <a:tcPr marL="0" marR="72000" marT="73152" marB="73152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anchor="b">
                    <a:lnT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i="0" u="none" dirty="0">
                        <a:solidFill>
                          <a:srgbClr val="4CCAD8"/>
                        </a:solidFill>
                        <a:latin typeface="+mn-lt"/>
                      </a:endParaRPr>
                    </a:p>
                  </a:txBody>
                  <a:tcPr marL="0" marR="72000" marT="73152" marB="73152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i="0" u="none" dirty="0">
                        <a:solidFill>
                          <a:srgbClr val="4CCAD8"/>
                        </a:solidFill>
                        <a:latin typeface="+mn-lt"/>
                      </a:endParaRPr>
                    </a:p>
                  </a:txBody>
                  <a:tcPr marL="0" marR="72000" marT="73152" marB="73152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dirty="0">
                          <a:solidFill>
                            <a:srgbClr val="4CCAD8"/>
                          </a:solidFill>
                          <a:latin typeface="+mn-lt"/>
                        </a:rPr>
                        <a:t>Domestic Sales</a:t>
                      </a:r>
                    </a:p>
                  </a:txBody>
                  <a:tcPr marL="0" marR="72000" marT="73152" marB="73152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anchor="b">
                    <a:lnT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anchor="b">
                    <a:lnT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anchor="b">
                    <a:lnT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i="0" u="none" dirty="0">
                        <a:solidFill>
                          <a:srgbClr val="4CCAD8"/>
                        </a:solidFill>
                        <a:latin typeface="+mn-lt"/>
                      </a:endParaRPr>
                    </a:p>
                  </a:txBody>
                  <a:tcPr marL="0" marR="72000" marT="73152" marB="73152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dirty="0">
                          <a:solidFill>
                            <a:srgbClr val="4CCAD8"/>
                          </a:solidFill>
                          <a:latin typeface="+mn-lt"/>
                        </a:rPr>
                        <a:t>Exports</a:t>
                      </a:r>
                    </a:p>
                  </a:txBody>
                  <a:tcPr marL="0" marR="72000" marT="73152" marB="73152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anchor="b">
                    <a:lnT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i="0" u="none" dirty="0">
                        <a:solidFill>
                          <a:srgbClr val="4CCAD8"/>
                        </a:solidFill>
                        <a:latin typeface="+mn-lt"/>
                      </a:endParaRPr>
                    </a:p>
                  </a:txBody>
                  <a:tcPr marL="0" marR="72000" marT="73152" marB="73152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1361373"/>
                  </a:ext>
                </a:extLst>
              </a:tr>
              <a:tr h="512064">
                <a:tc>
                  <a:txBody>
                    <a:bodyPr/>
                    <a:lstStyle/>
                    <a:p>
                      <a:pPr marL="0" indent="0" algn="l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Category</a:t>
                      </a:r>
                    </a:p>
                  </a:txBody>
                  <a:tcPr marL="0" marR="72000" marT="73152" marB="73152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Total</a:t>
                      </a:r>
                    </a:p>
                  </a:txBody>
                  <a:tcPr marL="0" marR="0" marT="0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N</a:t>
                      </a:r>
                    </a:p>
                  </a:txBody>
                  <a:tcPr marL="0" marR="72000" marT="73152" marB="73152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E</a:t>
                      </a:r>
                    </a:p>
                  </a:txBody>
                  <a:tcPr marL="0" marR="72000" marT="73152" marB="73152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W</a:t>
                      </a:r>
                    </a:p>
                  </a:txBody>
                  <a:tcPr marL="0" marR="72000" marT="73152" marB="73152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S</a:t>
                      </a:r>
                    </a:p>
                  </a:txBody>
                  <a:tcPr marL="0" marR="72000" marT="73152" marB="73152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Dome-</a:t>
                      </a:r>
                      <a:r>
                        <a:rPr lang="en-US" sz="1100" b="0" i="0" u="none" dirty="0" err="1">
                          <a:solidFill>
                            <a:srgbClr val="1D519F"/>
                          </a:solidFill>
                          <a:latin typeface="+mn-lt"/>
                        </a:rPr>
                        <a:t>stic</a:t>
                      </a:r>
                      <a:endParaRPr lang="en-US" sz="1100" b="0" i="0" u="none" dirty="0">
                        <a:solidFill>
                          <a:srgbClr val="1D519F"/>
                        </a:solidFill>
                        <a:latin typeface="+mn-lt"/>
                      </a:endParaRPr>
                    </a:p>
                  </a:txBody>
                  <a:tcPr marL="0" marR="72000" marT="73152" marB="73152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SAARC</a:t>
                      </a:r>
                    </a:p>
                  </a:txBody>
                  <a:tcPr marL="0" marR="72000" marT="73152" marB="73152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Others</a:t>
                      </a:r>
                    </a:p>
                  </a:txBody>
                  <a:tcPr marL="0" marR="72000" marT="73152" marB="73152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Exp-orts</a:t>
                      </a:r>
                    </a:p>
                  </a:txBody>
                  <a:tcPr marL="0" marR="72000" marT="73152" marB="73152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N</a:t>
                      </a:r>
                    </a:p>
                  </a:txBody>
                  <a:tcPr marL="0" marR="72000" marT="73152" marB="73152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E</a:t>
                      </a:r>
                    </a:p>
                  </a:txBody>
                  <a:tcPr marL="0" marR="72000" marT="73152" marB="73152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W</a:t>
                      </a:r>
                    </a:p>
                  </a:txBody>
                  <a:tcPr marL="0" marR="72000" marT="73152" marB="73152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S</a:t>
                      </a:r>
                    </a:p>
                  </a:txBody>
                  <a:tcPr marL="0" marR="72000" marT="73152" marB="73152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Dome-</a:t>
                      </a:r>
                      <a:r>
                        <a:rPr lang="en-US" sz="1100" b="0" i="0" u="none" dirty="0" err="1">
                          <a:solidFill>
                            <a:srgbClr val="1D519F"/>
                          </a:solidFill>
                          <a:latin typeface="+mn-lt"/>
                        </a:rPr>
                        <a:t>stic</a:t>
                      </a:r>
                      <a:endParaRPr lang="en-US" sz="1100" b="0" i="0" u="none" dirty="0">
                        <a:solidFill>
                          <a:srgbClr val="1D519F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SAARC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Others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Exp-orts</a:t>
                      </a:r>
                    </a:p>
                  </a:txBody>
                  <a:tcPr marL="0" marR="72000" marT="73152" marB="73152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N</a:t>
                      </a:r>
                    </a:p>
                  </a:txBody>
                  <a:tcPr marL="0" marR="72000" marT="73152" marB="73152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E</a:t>
                      </a:r>
                    </a:p>
                  </a:txBody>
                  <a:tcPr marL="0" marR="72000" marT="73152" marB="73152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W</a:t>
                      </a:r>
                    </a:p>
                  </a:txBody>
                  <a:tcPr marL="0" marR="72000" marT="73152" marB="73152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S</a:t>
                      </a:r>
                    </a:p>
                  </a:txBody>
                  <a:tcPr marL="0" marR="72000" marT="73152" marB="73152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Dome-</a:t>
                      </a:r>
                      <a:r>
                        <a:rPr lang="en-US" sz="1100" b="0" i="0" u="none" dirty="0" err="1">
                          <a:solidFill>
                            <a:srgbClr val="1D519F"/>
                          </a:solidFill>
                          <a:latin typeface="+mn-lt"/>
                        </a:rPr>
                        <a:t>stic</a:t>
                      </a:r>
                      <a:endParaRPr lang="en-US" sz="1100" b="0" i="0" u="none" dirty="0">
                        <a:solidFill>
                          <a:srgbClr val="1D519F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SAARC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Others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dirty="0">
                          <a:solidFill>
                            <a:srgbClr val="1D519F"/>
                          </a:solidFill>
                          <a:latin typeface="+mn-lt"/>
                        </a:rPr>
                        <a:t>Exp-orts</a:t>
                      </a:r>
                    </a:p>
                  </a:txBody>
                  <a:tcPr marL="0" marR="72000" marT="73152" marB="73152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2674396"/>
                  </a:ext>
                </a:extLst>
              </a:tr>
              <a:tr h="512064">
                <a:tc>
                  <a:txBody>
                    <a:bodyPr/>
                    <a:lstStyle/>
                    <a:p>
                      <a:pPr marL="0" indent="0" algn="l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i="0" u="none" dirty="0">
                          <a:solidFill>
                            <a:srgbClr val="295E7E"/>
                          </a:solidFill>
                          <a:latin typeface="+mn-lt"/>
                        </a:rPr>
                        <a:t>Earth moving</a:t>
                      </a:r>
                    </a:p>
                  </a:txBody>
                  <a:tcPr marL="0" marR="72000" marT="73152" marB="73152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22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4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3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9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8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6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32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8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9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7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1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31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0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623355"/>
                  </a:ext>
                </a:extLst>
              </a:tr>
              <a:tr h="512064">
                <a:tc>
                  <a:txBody>
                    <a:bodyPr/>
                    <a:lstStyle/>
                    <a:p>
                      <a:pPr marL="0" indent="0" algn="l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i="0" u="none" dirty="0">
                          <a:solidFill>
                            <a:srgbClr val="295E7E"/>
                          </a:solidFill>
                          <a:latin typeface="+mn-lt"/>
                        </a:rPr>
                        <a:t>Material handling</a:t>
                      </a:r>
                    </a:p>
                  </a:txBody>
                  <a:tcPr marL="0" marR="72000" marT="73152" marB="73152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9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5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6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593166"/>
                  </a:ext>
                </a:extLst>
              </a:tr>
              <a:tr h="512064">
                <a:tc>
                  <a:txBody>
                    <a:bodyPr/>
                    <a:lstStyle/>
                    <a:p>
                      <a:pPr marL="0" indent="0" algn="l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i="0" u="none" dirty="0">
                          <a:solidFill>
                            <a:srgbClr val="295E7E"/>
                          </a:solidFill>
                          <a:latin typeface="+mn-lt"/>
                        </a:rPr>
                        <a:t>Concrete</a:t>
                      </a:r>
                    </a:p>
                  </a:txBody>
                  <a:tcPr marL="0" marR="72000" marT="73152" marB="73152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5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6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6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7120010"/>
                  </a:ext>
                </a:extLst>
              </a:tr>
              <a:tr h="512064">
                <a:tc>
                  <a:txBody>
                    <a:bodyPr/>
                    <a:lstStyle/>
                    <a:p>
                      <a:pPr marL="0" indent="0" algn="l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i="0" u="none" dirty="0">
                          <a:solidFill>
                            <a:srgbClr val="295E7E"/>
                          </a:solidFill>
                          <a:latin typeface="+mn-lt"/>
                        </a:rPr>
                        <a:t>Road</a:t>
                      </a:r>
                    </a:p>
                  </a:txBody>
                  <a:tcPr marL="0" marR="72000" marT="73152" marB="73152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467708"/>
                  </a:ext>
                </a:extLst>
              </a:tr>
              <a:tr h="51206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dirty="0">
                          <a:solidFill>
                            <a:srgbClr val="295E7E"/>
                          </a:solidFill>
                          <a:latin typeface="+mn-lt"/>
                        </a:rPr>
                        <a:t>Material processing</a:t>
                      </a:r>
                    </a:p>
                  </a:txBody>
                  <a:tcPr marL="0" marR="72000" marT="73152" marB="73152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1347994"/>
                  </a:ext>
                </a:extLst>
              </a:tr>
              <a:tr h="51206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dirty="0">
                          <a:solidFill>
                            <a:srgbClr val="295E7E"/>
                          </a:solidFill>
                          <a:latin typeface="+mn-lt"/>
                        </a:rPr>
                        <a:t>Total</a:t>
                      </a:r>
                    </a:p>
                  </a:txBody>
                  <a:tcPr marL="0" marR="72000" marT="73152" marB="73152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24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0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8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9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50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9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5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9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5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18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5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8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0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8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5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1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54</a:t>
                      </a: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3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7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1568097"/>
                  </a:ext>
                </a:extLst>
              </a:tr>
            </a:tbl>
          </a:graphicData>
        </a:graphic>
      </p:graphicFrame>
      <p:sp>
        <p:nvSpPr>
          <p:cNvPr id="12" name="ee4pFootnotes">
            <a:extLst>
              <a:ext uri="{FF2B5EF4-FFF2-40B4-BE49-F238E27FC236}">
                <a16:creationId xmlns:a16="http://schemas.microsoft.com/office/drawing/2014/main" id="{6E9A7F32-F570-4C54-99A5-9016A83BF9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325" y="6516185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sym typeface="Trebuchet MS" panose="020B0603020202020204" pitchFamily="34" charset="0"/>
              </a:rPr>
              <a:t>Source: ICEM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8FDC8E-02A3-4D5F-8159-379EDEC75B31}"/>
              </a:ext>
            </a:extLst>
          </p:cNvPr>
          <p:cNvSpPr txBox="1"/>
          <p:nvPr/>
        </p:nvSpPr>
        <p:spPr>
          <a:xfrm>
            <a:off x="1069975" y="1504951"/>
            <a:ext cx="904968" cy="1682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sym typeface="Trebuchet MS" panose="020B0603020202020204" pitchFamily="34" charset="0"/>
              </a:rPr>
              <a:t>Units sold</a:t>
            </a:r>
          </a:p>
        </p:txBody>
      </p:sp>
    </p:spTree>
    <p:extLst>
      <p:ext uri="{BB962C8B-B14F-4D97-AF65-F5344CB8AC3E}">
        <p14:creationId xmlns:p14="http://schemas.microsoft.com/office/powerpoint/2010/main" val="976745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4856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286" imgH="286" progId="TCLayout.ActiveDocument.1">
                  <p:embed/>
                </p:oleObj>
              </mc:Choice>
              <mc:Fallback>
                <p:oleObj name="think-cell Slide" r:id="rId4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2" name="Rectangle 27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rgbClr val="FFFFFF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813" y="226966"/>
            <a:ext cx="10933350" cy="332399"/>
          </a:xfrm>
        </p:spPr>
        <p:txBody>
          <a:bodyPr vert="horz"/>
          <a:lstStyle/>
          <a:p>
            <a:r>
              <a:rPr lang="en-US" b="1" dirty="0">
                <a:solidFill>
                  <a:schemeClr val="bg1"/>
                </a:solidFill>
              </a:rPr>
              <a:t>All  Equipment: </a:t>
            </a:r>
            <a:r>
              <a:rPr lang="en-US" dirty="0">
                <a:solidFill>
                  <a:schemeClr val="bg1"/>
                </a:solidFill>
              </a:rPr>
              <a:t>Historical Trend of Domestic Sales</a:t>
            </a: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E91630B0-F2D5-6D5D-EE44-925AFECF6DCA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49659098"/>
              </p:ext>
            </p:extLst>
          </p:nvPr>
        </p:nvGraphicFramePr>
        <p:xfrm>
          <a:off x="917575" y="1516063"/>
          <a:ext cx="9756775" cy="3873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76250" y="490696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3E2AABF-9FAA-4658-818B-3BF7210CA078}" type="datetime'''''''1'''',''''''''00''''0'''''''''''''''''''''''''''''''''''">
              <a:rPr lang="en-GB" altLang="en-US" sz="1400" smtClean="0"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000</a:t>
            </a:fld>
            <a:endParaRPr lang="en-GB" sz="1400" dirty="0">
              <a:sym typeface="+mn-lt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76250" y="459898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4C5E05E-ED2C-4C18-A624-1D20826B3B17}" type="datetime'''''''''2'',0''''''''''''''''''''''''''''''''''0''''0'">
              <a:rPr lang="en-GB" altLang="en-US" sz="1400" smtClean="0"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,000</a:t>
            </a:fld>
            <a:endParaRPr lang="en-GB" sz="1400" dirty="0">
              <a:sym typeface="+mn-lt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76250" y="4289425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C907C86-A259-40D3-A9D0-46BF869384E1}" type="datetime'''''''''''''''''3,''''''''00''''''''''''0'''''''''''">
              <a:rPr lang="en-GB" altLang="en-US" sz="1400" smtClean="0"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,000</a:t>
            </a:fld>
            <a:endParaRPr lang="en-GB" sz="1400" dirty="0">
              <a:sym typeface="+mn-lt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76250" y="397986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BF6E0F9-3960-4A91-8AFB-71272D72244F}" type="datetime'4'''''''''''',''''''''''''''''''''''''''''''00''''''''0'''''''">
              <a:rPr lang="en-GB" altLang="en-US" sz="1400" smtClean="0"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,000</a:t>
            </a:fld>
            <a:endParaRPr lang="en-GB" sz="1400" dirty="0">
              <a:sym typeface="+mn-lt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76250" y="367188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F106979-5F93-45C1-897C-21D47803F11C}" type="datetime'''''''''''''5'''',''''''''''''''0''''0''''''''''0'">
              <a:rPr lang="en-GB" altLang="en-US" sz="1400" smtClean="0"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,000</a:t>
            </a:fld>
            <a:endParaRPr lang="en-GB" sz="1400" dirty="0">
              <a:sym typeface="+mn-lt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76250" y="3362325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5E4DE92-8388-4A67-8A75-C12F4E78FFA2}" type="datetime'''''6,''''''''''''''''''''0''0''''''0'''''''">
              <a:rPr lang="en-GB" altLang="en-US" sz="1400" smtClean="0"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,000</a:t>
            </a:fld>
            <a:endParaRPr lang="en-GB" sz="1400" dirty="0">
              <a:sym typeface="+mn-lt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76250" y="305276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E11E294-A659-43AB-ACAD-CAAC0A3314C2}" type="datetime'''''7'''''',''''''''''''''0''''''''''''''''''''''''''00'''''">
              <a:rPr lang="en-GB" altLang="en-US" sz="1400" smtClean="0"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,000</a:t>
            </a:fld>
            <a:endParaRPr lang="en-GB" sz="1400" dirty="0">
              <a:sym typeface="+mn-lt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76250" y="274478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929D292-045E-4311-A457-3AB1FBFBB51C}" type="datetime'''''''''''8'''''',''0''''''''''''''''0''''0'''''''">
              <a:rPr lang="en-GB" altLang="en-US" sz="1400" smtClean="0"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,000</a:t>
            </a:fld>
            <a:endParaRPr lang="en-GB" sz="1400" dirty="0">
              <a:sym typeface="+mn-lt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76250" y="2435225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AB3668A-CC88-4EF4-BC1A-E1724DCFC0BA}" type="datetime'''''''9'''''''',''0''''''''''''''0''''''0'''''''''''''''''''''">
              <a:rPr lang="en-GB" altLang="en-US" sz="1400" smtClean="0"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,000</a:t>
            </a:fld>
            <a:endParaRPr lang="en-GB" sz="1400" dirty="0">
              <a:sym typeface="+mn-lt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85763" y="2125663"/>
            <a:ext cx="4968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F040C40-CDD1-44F1-8FFD-E41D4B0C9CA2}" type="datetime'''''''''1''0'',''''0''''''''''''''00'''''''''''''''''''''''''">
              <a:rPr lang="en-GB" altLang="en-US" sz="1400" smtClean="0"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,000</a:t>
            </a:fld>
            <a:endParaRPr lang="en-GB" sz="1400" dirty="0">
              <a:sym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85763" y="1817688"/>
            <a:ext cx="4968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9B543CE-2678-46E5-B94D-1493651FACB0}" type="datetime'11,''''''''''''''''0''''0''''0'''">
              <a:rPr lang="en-GB" altLang="en-US" sz="1400" smtClean="0"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1,000</a:t>
            </a:fld>
            <a:endParaRPr lang="en-GB" sz="1400" dirty="0">
              <a:sym typeface="+mn-lt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85763" y="1508125"/>
            <a:ext cx="4968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31D7F18-4951-479E-AE62-7D48B985612C}" type="datetime'''''''''''''''1''''''''''2'',''0''''''0''0'''''''''''">
              <a:rPr lang="en-GB" altLang="en-US" sz="1400" smtClean="0"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,000</a:t>
            </a:fld>
            <a:endParaRPr lang="en-GB" sz="1400" dirty="0">
              <a:sym typeface="+mn-lt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2A8121E-FC81-40D3-B058-45E234325F6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92163" y="5184775"/>
            <a:ext cx="904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575757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3BEFE7A-5AB2-49EA-AC12-821194336620}" type="datetime'''0'''''''''''''''''''''''''''''">
              <a:rPr lang="en-US" altLang="en-US" sz="1400" smtClean="0">
                <a:solidFill>
                  <a:schemeClr val="tx1"/>
                </a:solidFill>
              </a:rPr>
              <a:pPr/>
              <a:t>0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58788" y="1173163"/>
            <a:ext cx="10842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sym typeface="+mn-lt"/>
              </a:rPr>
              <a:t>Domestic Sales</a:t>
            </a:r>
          </a:p>
        </p:txBody>
      </p:sp>
      <p:sp useBgFill="1">
        <p:nvSpPr>
          <p:cNvPr id="39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060450" y="2513013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0A1BF48-EEF5-4992-93AD-5F61E2ECF3A8}" type="datetime'''8'''''''''''''',''''''''73''''4'''''''''''''''''''''">
              <a:rPr lang="en-GB" altLang="en-US" sz="1400" smtClean="0">
                <a:effectLst/>
                <a:sym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8,734</a:t>
            </a:fld>
            <a:endParaRPr lang="en-GB" sz="1400" dirty="0">
              <a:sym typeface="+mn-lt"/>
            </a:endParaRPr>
          </a:p>
        </p:txBody>
      </p:sp>
      <p:sp useBgFill="1">
        <p:nvSpPr>
          <p:cNvPr id="4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060450" y="2855913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530C3BA-BFEF-4002-AC65-6BA4A13419DB}" type="datetime'''''7'''',''''''''''''''6''2''''''''''''''''2'''''">
              <a:rPr lang="en-GB" altLang="en-US" sz="1400" smtClean="0">
                <a:effectLst/>
              </a:rPr>
              <a:pPr/>
              <a:t>7,622</a:t>
            </a:fld>
            <a:endParaRPr lang="en-GB" sz="1400" dirty="0">
              <a:sym typeface="+mn-lt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CF2356D-F2B1-4977-80A4-698019BAEAC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65188" y="5365750"/>
            <a:ext cx="27146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A63BF62-6532-4B7C-8CCD-AC040EB7E9BE}" type="datetime'''''A''''''''''''''''''p''''''''''''''r'''''''''''''''''">
              <a:rPr lang="en-US" altLang="en-US" sz="1400" smtClean="0"/>
              <a:pPr/>
              <a:t>Apr</a:t>
            </a:fld>
            <a:endParaRPr lang="en-US" sz="1400" dirty="0">
              <a:sym typeface="+mn-lt"/>
            </a:endParaRPr>
          </a:p>
        </p:txBody>
      </p:sp>
      <p:sp useBgFill="1">
        <p:nvSpPr>
          <p:cNvPr id="4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931988" y="3071813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A5EB686-11ED-4AFD-8666-343B884E43F6}" type="datetime'''''''''''''''''''''''''''''6,9''''''''2''''''7'">
              <a:rPr lang="en-GB" altLang="en-US" sz="1400" smtClean="0">
                <a:effectLst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,927</a:t>
            </a:fld>
            <a:endParaRPr lang="en-GB" sz="1400" dirty="0">
              <a:sym typeface="+mn-lt"/>
            </a:endParaRPr>
          </a:p>
        </p:txBody>
      </p:sp>
      <p:sp useBgFill="1">
        <p:nvSpPr>
          <p:cNvPr id="4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805113" y="3125788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DA475E-52D0-4199-920B-70AA5F4CDFD7}" type="datetime'''6'''',''''''''''''7''''''''''''''''''''''''5''0'''''''">
              <a:rPr lang="en-GB" altLang="en-US" sz="1400" smtClean="0">
                <a:effectLst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,750</a:t>
            </a:fld>
            <a:endParaRPr lang="en-GB" sz="1400" dirty="0">
              <a:sym typeface="+mn-lt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9B83915-2A28-47D6-875C-D959919D619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616200" y="5365750"/>
            <a:ext cx="25717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A41F055-6D1D-4A0D-A61B-B53D95E6EB84}" type="datetime'''J''''''''''''''''''''''u''''''''''''''''''''''''''''''n'">
              <a:rPr lang="en-US" altLang="en-US" sz="1400" smtClean="0"/>
              <a:pPr/>
              <a:t>Jun</a:t>
            </a:fld>
            <a:endParaRPr lang="en-US" sz="1400" dirty="0">
              <a:sym typeface="+mn-lt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4B686C9-989B-42F2-AD3C-499033883D5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514725" y="5365750"/>
            <a:ext cx="2047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E5D630C-30CE-40EC-B362-F93E831A5568}" type="datetime'''''J''''''''''''''u''''''''''''''''''''''''''''''''''''''''l'">
              <a:rPr lang="en-US" altLang="en-US" sz="1400" smtClean="0"/>
              <a:pPr/>
              <a:t>Jul</a:t>
            </a:fld>
            <a:endParaRPr lang="en-US" sz="1400" dirty="0">
              <a:sym typeface="+mn-lt"/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6F233A3-BFA9-441D-B9D2-B9B5A7531AE9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341813" y="5365750"/>
            <a:ext cx="2936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6883F65-7E84-400D-946E-D0FE5E5B06A0}" type="datetime'''''''''''''A''''''''''''u''''''''''''''''''''''g'''''''">
              <a:rPr lang="en-US" altLang="en-US" sz="1400" smtClean="0"/>
              <a:pPr/>
              <a:t>Aug</a:t>
            </a:fld>
            <a:endParaRPr lang="en-US" sz="1400" dirty="0">
              <a:sym typeface="+mn-lt"/>
            </a:endParaRPr>
          </a:p>
        </p:txBody>
      </p:sp>
      <p:sp useBgFill="1">
        <p:nvSpPr>
          <p:cNvPr id="4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130800" y="2578100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A95F01-09E9-4AE8-AE6C-A3BE9A58EFD9}" type="datetime'''''9'''''',''''''''''''''024'''''''''''''''''''''''''''''">
              <a:rPr lang="en-GB" altLang="en-US" sz="1400" smtClean="0">
                <a:effectLst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,024</a:t>
            </a:fld>
            <a:endParaRPr lang="en-GB" sz="1400" dirty="0">
              <a:sym typeface="+mn-lt"/>
            </a:endParaRP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AF7AC4C4-ABC9-41EB-A5B8-4B194DD6B82D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221288" y="5365750"/>
            <a:ext cx="27622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BE29EB7-45F5-4C94-BA69-BB592F9AB674}" type="datetime'''''''''S''''''''''''''''''''''''''''''''''''ep'''">
              <a:rPr lang="en-US" altLang="en-US" sz="1400" smtClean="0"/>
              <a:pPr/>
              <a:t>Sep</a:t>
            </a:fld>
            <a:endParaRPr lang="en-US" sz="1400" dirty="0">
              <a:sym typeface="+mn-lt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A8BF74A2-C401-49B2-A884-8DBD61953683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100763" y="5365750"/>
            <a:ext cx="26511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CC1375A-F86D-446F-B7CE-B771FB205842}" type="datetime'''''''''''''''''''''O''''''''''''''c''''''t'''">
              <a:rPr lang="en-US" altLang="en-US" sz="1400" smtClean="0"/>
              <a:pPr/>
              <a:t>Oct</a:t>
            </a:fld>
            <a:endParaRPr lang="en-US" sz="1400" dirty="0">
              <a:sym typeface="+mn-lt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715586C-C3AD-48FE-B59B-94B8B18890F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953250" y="5365750"/>
            <a:ext cx="30162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9115E27-8626-4463-85E0-9F182F69FB6F}" type="datetime'N''''''''''''''''''''''''''''''''o''''''''v'''''''''">
              <a:rPr lang="en-US" altLang="en-US" sz="1400" smtClean="0"/>
              <a:pPr/>
              <a:t>Nov</a:t>
            </a:fld>
            <a:endParaRPr lang="en-US" sz="1400" dirty="0">
              <a:sym typeface="+mn-lt"/>
            </a:endParaRP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DA5F07FB-1ABA-43F5-811E-9F3EA435A3A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832725" y="5365750"/>
            <a:ext cx="28575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7055993-9261-46B4-8C58-D5F44D9B0413}" type="datetime'D''''''''''''''''''''''''''''e''''''''''''''''''''''''''''''c'">
              <a:rPr lang="en-US" altLang="en-US" sz="1400" smtClean="0"/>
              <a:pPr/>
              <a:t>Dec</a:t>
            </a:fld>
            <a:endParaRPr lang="en-US" sz="1400" dirty="0">
              <a:sym typeface="+mn-lt"/>
            </a:endParaRPr>
          </a:p>
        </p:txBody>
      </p:sp>
      <p:sp useBgFill="1">
        <p:nvSpPr>
          <p:cNvPr id="7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8574088" y="2181225"/>
            <a:ext cx="54768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52FD0C3-8429-4984-881F-AF596A8D478C}" type="datetime'''''''10'''''''''''''''''''',3''''''''0''''''8'''">
              <a:rPr lang="en-GB" altLang="en-US" sz="1400" smtClean="0"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,308</a:t>
            </a:fld>
            <a:endParaRPr lang="en-GB" sz="1400" dirty="0">
              <a:sym typeface="+mn-lt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95FD307A-9FA0-4505-AB3C-41DB3DD08DBE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8723313" y="5365750"/>
            <a:ext cx="24923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2938080-05C6-493E-A625-3764F09533FB}" type="datetime'''J''''''''''a''n'''''''''''''">
              <a:rPr lang="en-US" altLang="en-US" sz="1400" smtClean="0"/>
              <a:pPr/>
              <a:t>Jan</a:t>
            </a:fld>
            <a:endParaRPr lang="en-US" sz="1400" dirty="0">
              <a:sym typeface="+mn-lt"/>
            </a:endParaRPr>
          </a:p>
        </p:txBody>
      </p:sp>
      <p:sp useBgFill="1">
        <p:nvSpPr>
          <p:cNvPr id="9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9491663" y="2022475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F38D263-43DC-4206-9A5A-56C7EC9C3874}" type="datetime'''9'''''',''''''''''8''''''''19'''''''''''''''">
              <a:rPr lang="en-GB" altLang="en-US" sz="1400" smtClean="0"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,819</a:t>
            </a:fld>
            <a:endParaRPr lang="en-GB" sz="1400" dirty="0">
              <a:sym typeface="+mn-lt"/>
            </a:endParaRP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CD00C85-1BD5-4435-A190-4FB4701D0175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9583738" y="5365750"/>
            <a:ext cx="27305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BDA6F19-596A-44A0-BA04-D6776285E01E}" type="datetime'''''''''''''F''''''''''''''''''''''''''eb'''''''''''''''''''''">
              <a:rPr lang="en-US" altLang="en-US" sz="1400" smtClean="0"/>
              <a:pPr/>
              <a:t>Feb</a:t>
            </a:fld>
            <a:endParaRPr lang="en-US" sz="1400" dirty="0">
              <a:sym typeface="+mn-lt"/>
            </a:endParaRPr>
          </a:p>
        </p:txBody>
      </p:sp>
      <p:sp useBgFill="1">
        <p:nvSpPr>
          <p:cNvPr id="2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0318750" y="1654175"/>
            <a:ext cx="54768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A02CD6F-AA5A-4A7A-A9C5-9A78EA79361D}" type="datetime'''''1''''''''''''1'''''''''''''''',''''''''5''''1''''''3'''''">
              <a:rPr lang="en-GB" altLang="en-US" sz="1400" smtClean="0">
                <a:effectLst/>
              </a:rPr>
              <a:pPr/>
              <a:t>11,513</a:t>
            </a:fld>
            <a:endParaRPr lang="en-GB" sz="1400" dirty="0">
              <a:sym typeface="+mn-lt"/>
            </a:endParaRP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D6EFDA10-9357-4F77-81CA-51C3BE586561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0436225" y="5365750"/>
            <a:ext cx="31273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C7C704F-FDEC-45AC-ADFE-58795018162D}" type="datetime'''''''''''''''''''Ma''''r'''''''">
              <a:rPr lang="en-US" altLang="en-US" sz="1400" smtClean="0"/>
              <a:pPr/>
              <a:t>Mar</a:t>
            </a:fld>
            <a:endParaRPr lang="en-US" sz="1400" dirty="0">
              <a:sym typeface="+mn-lt"/>
            </a:endParaRPr>
          </a:p>
        </p:txBody>
      </p:sp>
      <p:sp useBgFill="1">
        <p:nvSpPr>
          <p:cNvPr id="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931988" y="2703513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B943499-4133-41AD-A9E1-8E955FD779EE}" type="datetime'''''8'''''''''''''''''''''''',''''1''''''''''''''''''1''''8'">
              <a:rPr lang="en-GB" altLang="en-US" sz="1400" smtClean="0">
                <a:effectLst/>
                <a:sym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8,118</a:t>
            </a:fld>
            <a:endParaRPr lang="en-GB" sz="1400" dirty="0">
              <a:sym typeface="+mn-lt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556C819-F711-419D-883C-5897179D4432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1708150" y="5365750"/>
            <a:ext cx="32861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F622ABD-F475-40CE-AF9F-025DA77BD86D}" type="datetime'''''''''''''M''''''''''''''a''''''''''y'''''''''''''''''''''''">
              <a:rPr lang="en-US" altLang="en-US" sz="1400" smtClean="0"/>
              <a:pPr/>
              <a:t>May</a:t>
            </a:fld>
            <a:endParaRPr lang="en-US" sz="1400" dirty="0">
              <a:sym typeface="+mn-lt"/>
            </a:endParaRP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4F614670-2B8E-1EDD-ACC6-EFD9E45EC103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">
          <a:xfrm>
            <a:off x="11010900" y="4311650"/>
            <a:ext cx="257175" cy="0"/>
          </a:xfrm>
          <a:prstGeom prst="line">
            <a:avLst/>
          </a:prstGeom>
          <a:ln w="28575" cap="rnd" cmpd="sng" algn="ctr">
            <a:solidFill>
              <a:srgbClr val="A4264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11E16AD-AB8F-4718-B6E3-604938519AFC}"/>
              </a:ext>
            </a:extLst>
          </p:cNvPr>
          <p:cNvCxnSpPr/>
          <p:nvPr>
            <p:custDataLst>
              <p:tags r:id="rId40"/>
            </p:custDataLst>
          </p:nvPr>
        </p:nvCxnSpPr>
        <p:spPr bwMode="gray">
          <a:xfrm>
            <a:off x="11010901" y="4594225"/>
            <a:ext cx="257175" cy="0"/>
          </a:xfrm>
          <a:prstGeom prst="line">
            <a:avLst/>
          </a:prstGeom>
          <a:ln w="28575" cap="rnd" cmpd="sng" algn="ctr">
            <a:solidFill>
              <a:srgbClr val="1E5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E87E15E2-DFC2-F751-47DD-FA557CF4713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1333163" y="4217988"/>
            <a:ext cx="444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7139187-96E3-42F2-A188-50EC7105AB01}" type="datetime'FY'' ''''24'''''''''''''''''''''''''''''''''''">
              <a:rPr lang="en-US" altLang="en-US" sz="1600" smtClean="0"/>
              <a:pPr/>
              <a:t>FY 24</a:t>
            </a:fld>
            <a:endParaRPr lang="en-US" sz="1600" dirty="0">
              <a:sym typeface="+mn-lt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1333163" y="4500563"/>
            <a:ext cx="444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4E4DC4C-E347-48D8-8C5D-602A641B774E}" type="datetime'''''''''''''''''''''''''F''''''''''''Y 2''''''''''''3'''''''">
              <a:rPr lang="en-US" altLang="en-US" sz="1600" smtClean="0"/>
              <a:pPr/>
              <a:t>FY 23</a:t>
            </a:fld>
            <a:endParaRPr lang="en-US" sz="1600" dirty="0">
              <a:sym typeface="+mn-lt"/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15BDD44-E354-40B4-868D-D4C948D2A74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1400" dirty="0">
              <a:sym typeface="+mn-lt"/>
            </a:endParaRP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7EFD475-9FFB-4CA2-B03B-4A6211A11EED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1400" dirty="0">
              <a:sym typeface="+mn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8">
            <p14:nvContentPartPr>
              <p14:cNvPr id="24" name="Ink 23">
                <a:extLst>
                  <a:ext uri="{FF2B5EF4-FFF2-40B4-BE49-F238E27FC236}">
                    <a16:creationId xmlns:a16="http://schemas.microsoft.com/office/drawing/2014/main" id="{38F85CCD-8EE0-4864-A027-2A255A0DFED8}"/>
                  </a:ext>
                </a:extLst>
              </p14:cNvPr>
              <p14:cNvContentPartPr/>
              <p14:nvPr/>
            </p14:nvContentPartPr>
            <p14:xfrm>
              <a:off x="990045" y="4171800"/>
              <a:ext cx="360" cy="360"/>
            </p14:xfrm>
          </p:contentPart>
        </mc:Choice>
        <mc:Fallback xmlns="">
          <p:pic>
            <p:nvPicPr>
              <p:cNvPr id="24" name="Ink 23">
                <a:extLst>
                  <a:ext uri="{FF2B5EF4-FFF2-40B4-BE49-F238E27FC236}">
                    <a16:creationId xmlns:a16="http://schemas.microsoft.com/office/drawing/2014/main" id="{38F85CCD-8EE0-4864-A027-2A255A0DFED8}"/>
                  </a:ext>
                </a:extLst>
              </p:cNvPr>
              <p:cNvPicPr/>
              <p:nvPr/>
            </p:nvPicPr>
            <p:blipFill>
              <a:blip r:embed="rId49"/>
              <a:stretch>
                <a:fillRect/>
              </a:stretch>
            </p:blipFill>
            <p:spPr>
              <a:xfrm>
                <a:off x="985725" y="4167480"/>
                <a:ext cx="9000" cy="9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0">
            <p14:nvContentPartPr>
              <p14:cNvPr id="25" name="Ink 24">
                <a:extLst>
                  <a:ext uri="{FF2B5EF4-FFF2-40B4-BE49-F238E27FC236}">
                    <a16:creationId xmlns:a16="http://schemas.microsoft.com/office/drawing/2014/main" id="{56162691-EF1B-4F01-89EC-25EBA7B4E81D}"/>
                  </a:ext>
                </a:extLst>
              </p14:cNvPr>
              <p14:cNvContentPartPr/>
              <p14:nvPr/>
            </p14:nvContentPartPr>
            <p14:xfrm>
              <a:off x="1952325" y="6743280"/>
              <a:ext cx="360" cy="360"/>
            </p14:xfrm>
          </p:contentPart>
        </mc:Choice>
        <mc:Fallback xmlns="">
          <p:pic>
            <p:nvPicPr>
              <p:cNvPr id="25" name="Ink 24">
                <a:extLst>
                  <a:ext uri="{FF2B5EF4-FFF2-40B4-BE49-F238E27FC236}">
                    <a16:creationId xmlns:a16="http://schemas.microsoft.com/office/drawing/2014/main" id="{56162691-EF1B-4F01-89EC-25EBA7B4E81D}"/>
                  </a:ext>
                </a:extLst>
              </p:cNvPr>
              <p:cNvPicPr/>
              <p:nvPr/>
            </p:nvPicPr>
            <p:blipFill>
              <a:blip r:embed="rId49"/>
              <a:stretch>
                <a:fillRect/>
              </a:stretch>
            </p:blipFill>
            <p:spPr>
              <a:xfrm>
                <a:off x="1948005" y="6738960"/>
                <a:ext cx="9000" cy="9000"/>
              </a:xfrm>
              <a:prstGeom prst="rect">
                <a:avLst/>
              </a:prstGeom>
            </p:spPr>
          </p:pic>
        </mc:Fallback>
      </mc:AlternateContent>
      <p:sp>
        <p:nvSpPr>
          <p:cNvPr id="106" name="ee4pFootnotes">
            <a:extLst>
              <a:ext uri="{FF2B5EF4-FFF2-40B4-BE49-F238E27FC236}">
                <a16:creationId xmlns:a16="http://schemas.microsoft.com/office/drawing/2014/main" id="{43705B47-9AC3-4CF4-BF4D-A9D43ECFB9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325" y="6516185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sym typeface="Trebuchet MS" panose="020B0603020202020204" pitchFamily="34" charset="0"/>
              </a:rPr>
              <a:t>Source: ICEMA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D258421-159F-410F-AE7E-6A0C32C8C3C3}"/>
              </a:ext>
            </a:extLst>
          </p:cNvPr>
          <p:cNvSpPr txBox="1"/>
          <p:nvPr/>
        </p:nvSpPr>
        <p:spPr>
          <a:xfrm>
            <a:off x="917575" y="1438245"/>
            <a:ext cx="904968" cy="1682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sym typeface="Trebuchet MS" panose="020B0603020202020204" pitchFamily="34" charset="0"/>
              </a:rPr>
              <a:t>Units sold</a:t>
            </a:r>
          </a:p>
        </p:txBody>
      </p:sp>
    </p:spTree>
    <p:extLst>
      <p:ext uri="{BB962C8B-B14F-4D97-AF65-F5344CB8AC3E}">
        <p14:creationId xmlns:p14="http://schemas.microsoft.com/office/powerpoint/2010/main" val="386990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4963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286" imgH="286" progId="TCLayout.ActiveDocument.1">
                  <p:embed/>
                </p:oleObj>
              </mc:Choice>
              <mc:Fallback>
                <p:oleObj name="think-cell Slide" r:id="rId4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2" name="Rectangle 27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rgbClr val="FFFFFF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813" y="226966"/>
            <a:ext cx="10933350" cy="332399"/>
          </a:xfrm>
        </p:spPr>
        <p:txBody>
          <a:bodyPr vert="horz"/>
          <a:lstStyle/>
          <a:p>
            <a:r>
              <a:rPr lang="en-US" b="1" dirty="0">
                <a:solidFill>
                  <a:schemeClr val="bg1"/>
                </a:solidFill>
              </a:rPr>
              <a:t>All  Equipment: </a:t>
            </a:r>
            <a:r>
              <a:rPr lang="en-US" dirty="0">
                <a:solidFill>
                  <a:schemeClr val="bg1"/>
                </a:solidFill>
              </a:rPr>
              <a:t>Historical Trend of Export Sales</a:t>
            </a: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C0FDC707-0325-8EAC-2BA8-9569AB6A752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63593001"/>
              </p:ext>
            </p:extLst>
          </p:nvPr>
        </p:nvGraphicFramePr>
        <p:xfrm>
          <a:off x="908050" y="1282700"/>
          <a:ext cx="9856788" cy="4054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01663" y="4751388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AFF39A4-417D-411D-A4FC-530AB2BDFB8F}" type="datetime'''''1''''''''''''''''''''''''''''''''''''''''''00'''''''''''''">
              <a:rPr lang="en-GB" altLang="en-US" sz="1400" smtClean="0"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GB" sz="1400" dirty="0">
              <a:sym typeface="+mn-lt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01663" y="4340225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96337C6-E740-458B-9832-DC56A28D2056}" type="datetime'2''''''''''''''''''''''0''''''''''''''0'''">
              <a:rPr lang="en-GB" altLang="en-US" sz="1400" smtClean="0"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en-GB" sz="1400" dirty="0">
              <a:sym typeface="+mn-lt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01663" y="3927475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124828D-7A86-4B71-85DA-377ED75E97EC}" type="datetime'''''''''''''''''''''''''''3''0''''''''0'''''">
              <a:rPr lang="en-GB" altLang="en-US" sz="1400" smtClean="0"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0</a:t>
            </a:fld>
            <a:endParaRPr lang="en-GB" sz="1400" dirty="0">
              <a:sym typeface="+mn-lt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01663" y="3516313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D33353F-A5A7-4967-8C1A-A22CC43B34A1}" type="datetime'''''''''''''''''4''''''''''''0''''''''''0'''''''''''''''''">
              <a:rPr lang="en-GB" altLang="en-US" sz="1400" smtClean="0"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0</a:t>
            </a:fld>
            <a:endParaRPr lang="en-GB" sz="1400" dirty="0">
              <a:sym typeface="+mn-lt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01663" y="3103563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4CEA0A6-509C-421A-8762-5EEDF37EC822}" type="datetime'''''''''''''''5''''''''''''''''0''''''''''0'''''''">
              <a:rPr lang="en-GB" altLang="en-US" sz="1400" smtClean="0"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0</a:t>
            </a:fld>
            <a:endParaRPr lang="en-GB" sz="1400" dirty="0">
              <a:sym typeface="+mn-lt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01663" y="2692400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7FC3677-94F1-4B72-93A1-1D9C2D751481}" type="datetime'''''''''''''''''''''''''''60''''0'''''''''''''''''''''''''''">
              <a:rPr lang="en-GB" altLang="en-US" sz="1400" smtClean="0"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0</a:t>
            </a:fld>
            <a:endParaRPr lang="en-GB" sz="1400" dirty="0">
              <a:sym typeface="+mn-lt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01663" y="2279650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074F3F0-8A55-47FB-B083-06A65F0186DE}" type="datetime'''''7''''''0''''''''''''''''''''''''''''0'''''''''''''''">
              <a:rPr lang="en-GB" altLang="en-US" sz="1400" smtClean="0"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0</a:t>
            </a:fld>
            <a:endParaRPr lang="en-GB" sz="1400" dirty="0">
              <a:sym typeface="+mn-lt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01663" y="1868488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D16705F-E524-4D69-B775-1E3C922AAB2E}" type="datetime'''''8''''''''''''''''''''''''''''00'''''''''''''''''''''''''''">
              <a:rPr lang="en-GB" altLang="en-US" sz="1400" smtClean="0"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0</a:t>
            </a:fld>
            <a:endParaRPr lang="en-GB" sz="1400" dirty="0">
              <a:sym typeface="+mn-lt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01663" y="1455738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F204756-4D9F-460E-BFFD-DE969259A5FF}" type="datetime'9''''''''''''''0''''''''''''''''''''''0'''''''''''''''''''''">
              <a:rPr lang="en-GB" altLang="en-US" sz="1400" smtClean="0"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00</a:t>
            </a:fld>
            <a:endParaRPr lang="en-GB" sz="1400" dirty="0">
              <a:sym typeface="+mn-lt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2A8121E-FC81-40D3-B058-45E234325F6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782638" y="5132388"/>
            <a:ext cx="904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575757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3BEFE7A-5AB2-49EA-AC12-821194336620}" type="datetime'''0'''''''''''''''''''''''''''''">
              <a:rPr lang="en-US" altLang="en-US" sz="1400" smtClean="0">
                <a:solidFill>
                  <a:schemeClr val="tx1"/>
                </a:solidFill>
              </a:rPr>
              <a:pPr/>
              <a:t>0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01663" y="1120775"/>
            <a:ext cx="8810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sym typeface="+mn-lt"/>
              </a:rPr>
              <a:t>Export Sales</a:t>
            </a:r>
          </a:p>
        </p:txBody>
      </p:sp>
      <p:sp useBgFill="1">
        <p:nvSpPr>
          <p:cNvPr id="5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050925" y="2098675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1C5444A-7111-4A7E-998D-93E2A86BB2AE}" type="datetime'''''''''7''''''''''''''''''''''''''''''''''''''''4''3'''''''">
              <a:rPr lang="en-GB" altLang="en-US" sz="1400" smtClean="0">
                <a:effectLst/>
                <a:sym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743</a:t>
            </a:fld>
            <a:endParaRPr lang="en-GB" sz="1400" dirty="0">
              <a:sym typeface="+mn-lt"/>
            </a:endParaRPr>
          </a:p>
        </p:txBody>
      </p:sp>
      <p:sp useBgFill="1">
        <p:nvSpPr>
          <p:cNvPr id="10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035050" y="3054350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50AE96-932B-44B4-BCDB-A95F94EE915F}" type="datetime'''''''4''''7''''''''''3'''''''''''''''''''''''''''''''''">
              <a:rPr lang="en-GB" altLang="en-US" sz="1400" smtClean="0"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3</a:t>
            </a:fld>
            <a:endParaRPr lang="en-GB" sz="1400" dirty="0">
              <a:sym typeface="+mn-lt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CF2356D-F2B1-4977-80A4-698019BAEAC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55663" y="5313363"/>
            <a:ext cx="27146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A63BF62-6532-4B7C-8CCD-AC040EB7E9BE}" type="datetime'''''A''''''''''''''''''p''''''''''''''r'''''''''''''''''">
              <a:rPr lang="en-US" altLang="en-US" sz="1400" smtClean="0"/>
              <a:pPr/>
              <a:t>Apr</a:t>
            </a:fld>
            <a:endParaRPr lang="en-US" sz="1400" dirty="0">
              <a:sym typeface="+mn-lt"/>
            </a:endParaRPr>
          </a:p>
        </p:txBody>
      </p:sp>
      <p:sp useBgFill="1">
        <p:nvSpPr>
          <p:cNvPr id="4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701800" y="2724150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63D817-5C99-4B24-A832-4AFE40F27006}" type="datetime'5''''9''''''''''''''''''''''''''''1'">
              <a:rPr lang="en-GB" altLang="en-US" sz="1400" smtClean="0">
                <a:effectLst/>
              </a:rPr>
              <a:pPr/>
              <a:t>591</a:t>
            </a:fld>
            <a:endParaRPr lang="en-GB" sz="1400" dirty="0">
              <a:sym typeface="+mn-lt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556C819-F711-419D-883C-5897179D443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698625" y="5313363"/>
            <a:ext cx="32861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F622ABD-F475-40CE-AF9F-025DA77BD86D}" type="datetime'''''''''''''M''''''''''''''a''''''''''y'''''''''''''''''''''''">
              <a:rPr lang="en-US" altLang="en-US" sz="1400" smtClean="0"/>
              <a:pPr/>
              <a:t>May</a:t>
            </a:fld>
            <a:endParaRPr lang="en-US" sz="1400" dirty="0">
              <a:sym typeface="+mn-lt"/>
            </a:endParaRPr>
          </a:p>
        </p:txBody>
      </p:sp>
      <p:sp useBgFill="1">
        <p:nvSpPr>
          <p:cNvPr id="5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574925" y="2382838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DE06A8-5D2A-489A-B8BF-CC5EF486A00A}" type="datetime'''''6''''''''''''''''''''''''''''7''4'''''''''''''''">
              <a:rPr lang="en-GB" altLang="en-US" sz="1400" smtClean="0">
                <a:effectLst/>
              </a:rPr>
              <a:pPr/>
              <a:t>674</a:t>
            </a:fld>
            <a:endParaRPr lang="en-GB" sz="1400" dirty="0">
              <a:sym typeface="+mn-lt"/>
            </a:endParaRPr>
          </a:p>
        </p:txBody>
      </p:sp>
      <p:sp useBgFill="1">
        <p:nvSpPr>
          <p:cNvPr id="5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446463" y="2806700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2A7627-E9D1-4926-AED7-3B7A96A065ED}" type="datetime'''''''''5''''''''''''''''''''''''''''7''''''''''''''1'''''''''">
              <a:rPr lang="en-GB" altLang="en-US" sz="1400" smtClean="0">
                <a:effectLst/>
              </a:rPr>
              <a:pPr/>
              <a:t>571</a:t>
            </a:fld>
            <a:endParaRPr lang="en-GB" sz="1400" dirty="0">
              <a:sym typeface="+mn-lt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4B686C9-989B-42F2-AD3C-499033883D5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505200" y="5313363"/>
            <a:ext cx="2047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E5D630C-30CE-40EC-B362-F93E831A5568}" type="datetime'''''J''''''''''''''u''''''''''''''''''''''''''''''''''''''''l'">
              <a:rPr lang="en-US" altLang="en-US" sz="1400" smtClean="0"/>
              <a:pPr/>
              <a:t>Jul</a:t>
            </a:fld>
            <a:endParaRPr lang="en-US" sz="1400" dirty="0">
              <a:sym typeface="+mn-lt"/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6F233A3-BFA9-441D-B9D2-B9B5A7531AE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332288" y="5313363"/>
            <a:ext cx="2936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6883F65-7E84-400D-946E-D0FE5E5B06A0}" type="datetime'''''''''''''A''''''''''''u''''''''''''''''''''''g'''''''">
              <a:rPr lang="en-US" altLang="en-US" sz="1400" smtClean="0"/>
              <a:pPr/>
              <a:t>Aug</a:t>
            </a:fld>
            <a:endParaRPr lang="en-US" sz="1400" dirty="0">
              <a:sym typeface="+mn-lt"/>
            </a:endParaRP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AF7AC4C4-ABC9-41EB-A5B8-4B194DD6B82D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211763" y="5313363"/>
            <a:ext cx="27622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BE29EB7-45F5-4C94-BA69-BB592F9AB674}" type="datetime'''''''''S''''''''''''''''''''''''''''''''''''ep'''">
              <a:rPr lang="en-US" altLang="en-US" sz="1400" smtClean="0"/>
              <a:pPr/>
              <a:t>Sep</a:t>
            </a:fld>
            <a:endParaRPr lang="en-US" sz="1400" dirty="0">
              <a:sym typeface="+mn-lt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A8BF74A2-C401-49B2-A884-8DBD6195368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091238" y="5313363"/>
            <a:ext cx="26511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CC1375A-F86D-446F-B7CE-B771FB205842}" type="datetime'''''''''''''''''''''O''''''''''''''c''''''t'''">
              <a:rPr lang="en-US" altLang="en-US" sz="1400" smtClean="0"/>
              <a:pPr/>
              <a:t>Oct</a:t>
            </a:fld>
            <a:endParaRPr lang="en-US" sz="1400" dirty="0">
              <a:sym typeface="+mn-lt"/>
            </a:endParaRPr>
          </a:p>
        </p:txBody>
      </p:sp>
      <p:sp useBgFill="1">
        <p:nvSpPr>
          <p:cNvPr id="6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934200" y="2406650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D86894-7152-44D6-B881-7556B7BE9878}" type="datetime'6''''''''6''''''''''''''''''''''''8'''''''''''''''">
              <a:rPr lang="en-GB" altLang="en-US" sz="1400" smtClean="0">
                <a:effectLst/>
              </a:rPr>
              <a:pPr/>
              <a:t>668</a:t>
            </a:fld>
            <a:endParaRPr lang="en-GB" sz="1400" dirty="0">
              <a:sym typeface="+mn-lt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715586C-C3AD-48FE-B59B-94B8B18890F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943725" y="5313363"/>
            <a:ext cx="30162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9115E27-8626-4463-85E0-9F182F69FB6F}" type="datetime'N''''''''''''''''''''''''''''''''o''''''''v'''''''''">
              <a:rPr lang="en-US" altLang="en-US" sz="1400" smtClean="0"/>
              <a:pPr/>
              <a:t>Nov</a:t>
            </a:fld>
            <a:endParaRPr lang="en-US" sz="1400" dirty="0">
              <a:sym typeface="+mn-lt"/>
            </a:endParaRPr>
          </a:p>
        </p:txBody>
      </p:sp>
      <p:sp useBgFill="1">
        <p:nvSpPr>
          <p:cNvPr id="5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805738" y="1635125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7A1B88-0ABE-4A65-B4B0-9E721950B541}" type="datetime'''''''8''''9''''''3'''''''''''''''''''''''">
              <a:rPr lang="en-GB" altLang="en-US" sz="1400" smtClean="0">
                <a:effectLst/>
              </a:rPr>
              <a:pPr/>
              <a:t>893</a:t>
            </a:fld>
            <a:endParaRPr lang="en-GB" sz="1400" dirty="0">
              <a:sym typeface="+mn-lt"/>
            </a:endParaRP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DA5F07FB-1ABA-43F5-811E-9F3EA435A3A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823200" y="5313363"/>
            <a:ext cx="28575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7055993-9261-46B4-8C58-D5F44D9B0413}" type="datetime'D''''''''''''''''''''''''''''e''''''''''''''''''''''''''''''c'">
              <a:rPr lang="en-US" altLang="en-US" sz="1400" smtClean="0"/>
              <a:pPr/>
              <a:t>Dec</a:t>
            </a:fld>
            <a:endParaRPr lang="en-US" sz="1400" dirty="0">
              <a:sym typeface="+mn-lt"/>
            </a:endParaRPr>
          </a:p>
        </p:txBody>
      </p:sp>
      <p:sp useBgFill="1">
        <p:nvSpPr>
          <p:cNvPr id="5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8677275" y="2214563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A4C131-ED8A-4750-993B-AC5A6D7779F1}" type="datetime'''''''''''''6''7''''''''''''''''''''''''''7'''''''''''">
              <a:rPr lang="en-GB" altLang="en-US" sz="1400" smtClean="0">
                <a:effectLst/>
              </a:rPr>
              <a:pPr/>
              <a:t>677</a:t>
            </a:fld>
            <a:endParaRPr lang="en-GB" sz="1400" dirty="0">
              <a:sym typeface="+mn-lt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95FD307A-9FA0-4505-AB3C-41DB3DD08DBE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713788" y="5313363"/>
            <a:ext cx="24923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2938080-05C6-493E-A625-3764F09533FB}" type="datetime'''J''''''''''a''n'''''''''''''">
              <a:rPr lang="en-US" altLang="en-US" sz="1400" smtClean="0"/>
              <a:pPr/>
              <a:t>Jan</a:t>
            </a:fld>
            <a:endParaRPr lang="en-US" sz="1400" dirty="0">
              <a:sym typeface="+mn-lt"/>
            </a:endParaRPr>
          </a:p>
        </p:txBody>
      </p:sp>
      <p:sp useBgFill="1">
        <p:nvSpPr>
          <p:cNvPr id="6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9550400" y="1974850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40DB29-C03E-4783-98AA-0C9E5FA9FAFC}" type="datetime'''''''''''''''''''''77''''''''''3'''''''''''''''''''''''''''''">
              <a:rPr lang="en-GB" altLang="en-US" sz="1400" smtClean="0">
                <a:effectLst/>
              </a:rPr>
              <a:pPr/>
              <a:t>773</a:t>
            </a:fld>
            <a:endParaRPr lang="en-GB" sz="1400" dirty="0">
              <a:sym typeface="+mn-lt"/>
            </a:endParaRP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CD00C85-1BD5-4435-A190-4FB4701D017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9574213" y="5313363"/>
            <a:ext cx="27305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BDA6F19-596A-44A0-BA04-D6776285E01E}" type="datetime'''''''''''''F''''''''''''''''''''''''''eb'''''''''''''''''''''">
              <a:rPr lang="en-US" altLang="en-US" sz="1400" smtClean="0"/>
              <a:pPr/>
              <a:t>Feb</a:t>
            </a:fld>
            <a:endParaRPr lang="en-US" sz="1400" dirty="0">
              <a:sym typeface="+mn-lt"/>
            </a:endParaRP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D6EFDA10-9357-4F77-81CA-51C3BE586561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0426700" y="5313363"/>
            <a:ext cx="31273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C7C704F-FDEC-45AC-ADFE-58795018162D}" type="datetime'''''''''''''''''''Ma''''r'''''''">
              <a:rPr lang="en-US" altLang="en-US" sz="1400" smtClean="0"/>
              <a:pPr/>
              <a:t>Mar</a:t>
            </a:fld>
            <a:endParaRPr lang="en-US" sz="1400" dirty="0">
              <a:sym typeface="+mn-lt"/>
            </a:endParaRPr>
          </a:p>
        </p:txBody>
      </p:sp>
      <p:sp useBgFill="1">
        <p:nvSpPr>
          <p:cNvPr id="8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922463" y="1582738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D0BB7B1-E5C0-471B-BE65-F75607363699}" type="datetime'''''''''8''''''''''''68'''''''''''''''''''">
              <a:rPr lang="en-GB" altLang="en-US" sz="1400" smtClean="0">
                <a:effectLst/>
                <a:sym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868</a:t>
            </a:fld>
            <a:endParaRPr lang="en-GB" sz="1400" dirty="0">
              <a:sym typeface="+mn-lt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9B83915-2A28-47D6-875C-D959919D619D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2606675" y="5313363"/>
            <a:ext cx="25717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A41F055-6D1D-4A0D-A61B-B53D95E6EB84}" type="datetime'''J''''''''''''''''''''''u''''''''''''''''''''''''''''''n'">
              <a:rPr lang="en-US" altLang="en-US" sz="1400" smtClean="0"/>
              <a:pPr/>
              <a:t>Jun</a:t>
            </a:fld>
            <a:endParaRPr lang="en-US" sz="1400" dirty="0">
              <a:sym typeface="+mn-lt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11E16AD-AB8F-4718-B6E3-604938519AFC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>
            <a:off x="11010901" y="4311650"/>
            <a:ext cx="257175" cy="0"/>
          </a:xfrm>
          <a:prstGeom prst="line">
            <a:avLst/>
          </a:prstGeom>
          <a:ln w="28575" cap="rnd" cmpd="sng" algn="ctr">
            <a:solidFill>
              <a:srgbClr val="A4264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28509CC-1AAC-49B5-8349-A98D6740BD29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>
            <a:off x="11010901" y="4594225"/>
            <a:ext cx="257175" cy="0"/>
          </a:xfrm>
          <a:prstGeom prst="line">
            <a:avLst/>
          </a:prstGeom>
          <a:ln w="28575" cap="rnd" cmpd="sng" algn="ctr">
            <a:solidFill>
              <a:srgbClr val="1E5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1333162" y="4217988"/>
            <a:ext cx="444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B298F06-09CA-4CFD-9B8A-95D45A5A06B8}" type="datetime'''''''''''''F''''''Y'''''''''''''''''''''''''''' 2''''''4'">
              <a:rPr lang="en-US" altLang="en-US" sz="1600" smtClean="0"/>
              <a:pPr/>
              <a:t>FY 24</a:t>
            </a:fld>
            <a:endParaRPr lang="en-US" sz="1600" dirty="0">
              <a:sym typeface="+mn-lt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48CC1E73-9CF2-41BB-A0AE-DBDB552C4D77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1333163" y="4500563"/>
            <a:ext cx="444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21B4835-5072-44AD-BB22-D9B015A648F4}" type="datetime'''''''''''''F''''''''''''''Y'''''''' ''''''''''''2''3'''''''">
              <a:rPr lang="en-US" altLang="en-US" sz="1600" smtClean="0"/>
              <a:pPr/>
              <a:t>FY 23</a:t>
            </a:fld>
            <a:endParaRPr lang="en-US" sz="1600" dirty="0">
              <a:sym typeface="+mn-lt"/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15BDD44-E354-40B4-868D-D4C948D2A74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1400" dirty="0">
              <a:sym typeface="+mn-lt"/>
            </a:endParaRP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7EFD475-9FFB-4CA2-B03B-4A6211A11EED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1400" dirty="0">
              <a:sym typeface="+mn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6">
            <p14:nvContentPartPr>
              <p14:cNvPr id="24" name="Ink 23">
                <a:extLst>
                  <a:ext uri="{FF2B5EF4-FFF2-40B4-BE49-F238E27FC236}">
                    <a16:creationId xmlns:a16="http://schemas.microsoft.com/office/drawing/2014/main" id="{38F85CCD-8EE0-4864-A027-2A255A0DFED8}"/>
                  </a:ext>
                </a:extLst>
              </p14:cNvPr>
              <p14:cNvContentPartPr/>
              <p14:nvPr/>
            </p14:nvContentPartPr>
            <p14:xfrm>
              <a:off x="990045" y="4171800"/>
              <a:ext cx="360" cy="360"/>
            </p14:xfrm>
          </p:contentPart>
        </mc:Choice>
        <mc:Fallback xmlns="">
          <p:pic>
            <p:nvPicPr>
              <p:cNvPr id="24" name="Ink 23">
                <a:extLst>
                  <a:ext uri="{FF2B5EF4-FFF2-40B4-BE49-F238E27FC236}">
                    <a16:creationId xmlns:a16="http://schemas.microsoft.com/office/drawing/2014/main" id="{38F85CCD-8EE0-4864-A027-2A255A0DFED8}"/>
                  </a:ext>
                </a:extLst>
              </p:cNvPr>
              <p:cNvPicPr/>
              <p:nvPr/>
            </p:nvPicPr>
            <p:blipFill>
              <a:blip r:embed="rId47"/>
              <a:stretch>
                <a:fillRect/>
              </a:stretch>
            </p:blipFill>
            <p:spPr>
              <a:xfrm>
                <a:off x="985725" y="4167480"/>
                <a:ext cx="9000" cy="9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8">
            <p14:nvContentPartPr>
              <p14:cNvPr id="25" name="Ink 24">
                <a:extLst>
                  <a:ext uri="{FF2B5EF4-FFF2-40B4-BE49-F238E27FC236}">
                    <a16:creationId xmlns:a16="http://schemas.microsoft.com/office/drawing/2014/main" id="{56162691-EF1B-4F01-89EC-25EBA7B4E81D}"/>
                  </a:ext>
                </a:extLst>
              </p14:cNvPr>
              <p14:cNvContentPartPr/>
              <p14:nvPr/>
            </p14:nvContentPartPr>
            <p14:xfrm>
              <a:off x="1952325" y="6743280"/>
              <a:ext cx="360" cy="360"/>
            </p14:xfrm>
          </p:contentPart>
        </mc:Choice>
        <mc:Fallback xmlns="">
          <p:pic>
            <p:nvPicPr>
              <p:cNvPr id="25" name="Ink 24">
                <a:extLst>
                  <a:ext uri="{FF2B5EF4-FFF2-40B4-BE49-F238E27FC236}">
                    <a16:creationId xmlns:a16="http://schemas.microsoft.com/office/drawing/2014/main" id="{56162691-EF1B-4F01-89EC-25EBA7B4E81D}"/>
                  </a:ext>
                </a:extLst>
              </p:cNvPr>
              <p:cNvPicPr/>
              <p:nvPr/>
            </p:nvPicPr>
            <p:blipFill>
              <a:blip r:embed="rId47"/>
              <a:stretch>
                <a:fillRect/>
              </a:stretch>
            </p:blipFill>
            <p:spPr>
              <a:xfrm>
                <a:off x="1948005" y="6738960"/>
                <a:ext cx="9000" cy="9000"/>
              </a:xfrm>
              <a:prstGeom prst="rect">
                <a:avLst/>
              </a:prstGeom>
            </p:spPr>
          </p:pic>
        </mc:Fallback>
      </mc:AlternateContent>
      <p:sp>
        <p:nvSpPr>
          <p:cNvPr id="106" name="ee4pFootnotes">
            <a:extLst>
              <a:ext uri="{FF2B5EF4-FFF2-40B4-BE49-F238E27FC236}">
                <a16:creationId xmlns:a16="http://schemas.microsoft.com/office/drawing/2014/main" id="{43705B47-9AC3-4CF4-BF4D-A9D43ECFB9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325" y="6516185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sym typeface="Trebuchet MS" panose="020B0603020202020204" pitchFamily="34" charset="0"/>
              </a:rPr>
              <a:t>Source: ICEMA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B3F0CB3-3676-498A-91CB-92BEF329A2EE}"/>
              </a:ext>
            </a:extLst>
          </p:cNvPr>
          <p:cNvSpPr txBox="1"/>
          <p:nvPr/>
        </p:nvSpPr>
        <p:spPr>
          <a:xfrm>
            <a:off x="977013" y="1377825"/>
            <a:ext cx="904968" cy="1682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sym typeface="Trebuchet MS" panose="020B0603020202020204" pitchFamily="34" charset="0"/>
              </a:rPr>
              <a:t>Units sold</a:t>
            </a:r>
          </a:p>
        </p:txBody>
      </p:sp>
    </p:spTree>
    <p:extLst>
      <p:ext uri="{BB962C8B-B14F-4D97-AF65-F5344CB8AC3E}">
        <p14:creationId xmlns:p14="http://schemas.microsoft.com/office/powerpoint/2010/main" val="619774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874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286" imgH="286" progId="TCLayout.ActiveDocument.1">
                  <p:embed/>
                </p:oleObj>
              </mc:Choice>
              <mc:Fallback>
                <p:oleObj name="think-cell Slide" r:id="rId4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2" name="Rectangle 27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813" y="226966"/>
            <a:ext cx="10933350" cy="332399"/>
          </a:xfrm>
        </p:spPr>
        <p:txBody>
          <a:bodyPr vert="horz"/>
          <a:lstStyle/>
          <a:p>
            <a:r>
              <a:rPr lang="en-US" b="1" dirty="0">
                <a:solidFill>
                  <a:schemeClr val="bg1"/>
                </a:solidFill>
              </a:rPr>
              <a:t>Earthmoving Equipment: </a:t>
            </a:r>
            <a:r>
              <a:rPr lang="en-US" dirty="0">
                <a:solidFill>
                  <a:schemeClr val="bg1"/>
                </a:solidFill>
              </a:rPr>
              <a:t>Historical Trend of Domestic Sales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C6D51095-9823-08AA-D9FB-D1557A2F6FC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71865032"/>
              </p:ext>
            </p:extLst>
          </p:nvPr>
        </p:nvGraphicFramePr>
        <p:xfrm>
          <a:off x="962025" y="1485900"/>
          <a:ext cx="9756775" cy="3873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20700" y="477361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633A193-9F9F-41A9-AE54-83B5EC6BBFA6}" type="datetime'1,''0''''''''0''''''''''''''''''''''''''0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0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20700" y="4362450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273090B-CCE1-4952-B7D2-410CA1E55AB5}" type="datetime'2'''''',0''''''''0''0'''''''''''''''''''''''''''">
              <a:rPr lang="en-US" altLang="en-US" sz="1400" u="none" strike="noStrike" normalizeH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,000</a:t>
            </a:fld>
            <a:endParaRPr lang="en-US" sz="1400" u="none" strike="noStrike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20700" y="3949700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5C3558A-E0AB-4159-BB79-22407A84B816}" type="datetime'''''''''''3'''''''''''''''''',''''0''''0''''''''''''0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,0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20700" y="3538538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D5FF321-571C-4728-AC17-F05FEB35F7F8}" type="datetime'''''''''''''''''''''''''4,''''''0''''''''''''0''''''0'">
              <a:rPr lang="en-US" altLang="en-US" sz="1400" u="none" strike="noStrike" normalizeH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,000</a:t>
            </a:fld>
            <a:endParaRPr lang="en-US" sz="1400" u="none" strike="noStrike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20700" y="312578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92FC7DB-D1E1-4B1C-B68A-281F9ADD7485}" type="datetime'''5'',''''''''''''''''''''''''''0''''''''0''''''''0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,0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20700" y="2714625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055C0D1-E548-4C4D-A380-730B6CB54320}" type="datetime'''''''''''6'',''''''0''''''''''''''0''''''''''0'''''''''''">
              <a:rPr lang="en-US" altLang="en-US" sz="1400" u="none" strike="noStrike" normalizeH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,000</a:t>
            </a:fld>
            <a:endParaRPr lang="en-US" sz="1400" u="none" strike="noStrike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20700" y="2301875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2713551-F0B4-4A61-8A04-67F624782196}" type="datetime'''7'''''''''''''''''''''',''''''''0''''''00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,0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20700" y="189071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E6C378D-7842-41A3-A6DA-E4A70226FF2A}" type="datetime'''''''''''''''''''''''8'',''0''''0''''''''''''''''0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,0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20700" y="147796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C8B88DF-EE6C-475C-831F-0F3D8FC3362F}" type="datetime'''''''''9'',''''''''''''''''''''''''''''''''0''''''''''0''0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,0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2A8121E-FC81-40D3-B058-45E234325F6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36613" y="5154612"/>
            <a:ext cx="904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575757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75757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fld id="{83BEFE7A-5AB2-49EA-AC12-821194336620}" type="datetime'''0'''''''''''''''''''''''''''''">
              <a:rPr lang="en-US" altLang="en-US" sz="1400" u="none" strike="noStrike" normalizeH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75757"/>
                </a:buClr>
                <a:buSzTx/>
                <a:buFont typeface="Arial" panose="020B0604020202020204" pitchFamily="34" charset="0"/>
                <a:buChar char="​"/>
                <a:tabLst/>
                <a:defRPr/>
              </a:pPr>
              <a:t>0</a:t>
            </a:fld>
            <a:endParaRPr lang="en-US" sz="1400" u="none" strike="noStrike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84390BE2-EAE1-0F38-DB9D-B7BF7125F6EF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H="1">
            <a:off x="1057275" y="3108325"/>
            <a:ext cx="92075" cy="523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56F72EF-CBBA-D766-DD84-0F83FA85E833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H="1">
            <a:off x="2803525" y="3079750"/>
            <a:ext cx="460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20700" y="1143000"/>
            <a:ext cx="10842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Domestic Sales</a:t>
            </a:r>
          </a:p>
        </p:txBody>
      </p:sp>
      <p:sp useBgFill="1">
        <p:nvSpPr>
          <p:cNvPr id="5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104900" y="2657475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7119A8BC-3065-4870-BD2D-DE0647AC4FDF}" type="datetime'6'',''''''''1''''''''2''''''''''''''''''''''''''''7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6,127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CF2356D-F2B1-4977-80A4-698019BAEAC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09638" y="5335587"/>
            <a:ext cx="27146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A63BF62-6532-4B7C-8CCD-AC040EB7E9BE}" type="datetime'''''A''''''''''''''''''p''''''''''''''r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Apr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556C819-F711-419D-883C-5897179D443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752600" y="5335587"/>
            <a:ext cx="32861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F622ABD-F475-40CE-AF9F-025DA77BD86D}" type="datetime'''''''''''''M''''''''''''''a''''''''''y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May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9B83915-2A28-47D6-875C-D959919D619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660650" y="5335587"/>
            <a:ext cx="25717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A41F055-6D1D-4A0D-A61B-B53D95E6EB84}" type="datetime'''J''''''''''''''''''''''u''''''''''''''''''''''''''''''n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un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6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721100" y="3435350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A60E25A-64F3-4D02-951A-26B5F5913E59}" type="datetime'''''''''''4'''',''''''''''2''3''''''''''''''''''7'''">
              <a:rPr lang="en-GB" altLang="en-US" sz="1400" smtClean="0">
                <a:effectLst/>
              </a:rPr>
              <a:pPr/>
              <a:t>4,237</a:t>
            </a:fld>
            <a:endParaRPr lang="en-GB" sz="1400" dirty="0">
              <a:sym typeface="+mn-lt"/>
            </a:endParaRPr>
          </a:p>
        </p:txBody>
      </p:sp>
      <p:sp useBgFill="1">
        <p:nvSpPr>
          <p:cNvPr id="6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303713" y="3171825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365CCC-1317-4A41-BE15-6A6C4967C455}" type="datetime'''''''''''''''''4'',''''''''''5''''0''1'''''''''''">
              <a:rPr lang="en-GB" altLang="en-US" sz="1400" smtClean="0">
                <a:solidFill>
                  <a:srgbClr val="000000"/>
                </a:solidFill>
                <a:effectLst/>
              </a:rPr>
              <a:pPr/>
              <a:t>4,501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6F233A3-BFA9-441D-B9D2-B9B5A7531AE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386263" y="5335587"/>
            <a:ext cx="2936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B6883F65-7E84-400D-946E-D0FE5E5B06A0}" type="datetime'''''''''''''A''''''''''''u''''''''''''''''''''''g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Aug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7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175250" y="2584450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27DA83-4E23-474C-B8A1-EB62C867BD61}" type="datetime'6'''''''''''''''''''''''''''',''''''''6''''''''''''8''''2'">
              <a:rPr lang="en-GB" altLang="en-US" sz="1400" smtClean="0"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682</a:t>
            </a:fld>
            <a:endParaRPr lang="en-GB" sz="1400" dirty="0">
              <a:sym typeface="+mn-lt"/>
            </a:endParaRP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AF7AC4C4-ABC9-41EB-A5B8-4B194DD6B82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265738" y="5335587"/>
            <a:ext cx="27622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9BE29EB7-45F5-4C94-BA69-BB592F9AB674}" type="datetime'''''''''S''''''''''''''''''''''''''''''''''''ep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Sep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A8BF74A2-C401-49B2-A884-8DBD61953683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145213" y="5335587"/>
            <a:ext cx="26511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5CC1375A-F86D-446F-B7CE-B771FB205842}" type="datetime'''''''''''''''''''''O''''''''''''''c''''''t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Oct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5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919913" y="2555875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466032-3DCE-47B8-9DD0-CB78AC2EE336}" type="datetime'''5'''''''''''''''''''''''''''',''''''''''99''''''''''5'">
              <a:rPr lang="en-GB" altLang="en-US" sz="1400" smtClean="0">
                <a:effectLst/>
              </a:rPr>
              <a:pPr/>
              <a:t>5,995</a:t>
            </a:fld>
            <a:endParaRPr lang="en-GB" sz="1400" dirty="0">
              <a:sym typeface="+mn-lt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715586C-C3AD-48FE-B59B-94B8B18890F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997700" y="5335587"/>
            <a:ext cx="30162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9115E27-8626-4463-85E0-9F182F69FB6F}" type="datetime'N''''''''''''''''''''''''''''''''o''''''''v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Nov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69" name="Text Placeholder 2">
            <a:extLst>
              <a:ext uri="{FF2B5EF4-FFF2-40B4-BE49-F238E27FC236}">
                <a16:creationId xmlns:a16="http://schemas.microsoft.com/office/drawing/2014/main" id="{5EFDE200-9EA2-4595-8A59-F3512BC1342D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791450" y="2828925"/>
            <a:ext cx="457200" cy="192088"/>
          </a:xfrm>
          <a:prstGeom prst="rect">
            <a:avLst/>
          </a:prstGeom>
          <a:ln>
            <a:noFill/>
          </a:ln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D48DFD2-1032-461E-A39D-3ACA26339D39}" type="datetime'''5'''''''''''''''',3''''''32'''''''''''''''''''">
              <a:rPr lang="en-GB" altLang="en-US" sz="1400" smtClean="0">
                <a:solidFill>
                  <a:srgbClr val="000000"/>
                </a:solidFill>
                <a:effectLst/>
              </a:rPr>
              <a:pPr/>
              <a:t>5,332</a:t>
            </a:fld>
            <a:endParaRPr kumimoji="0" lang="en-US" sz="1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DA5F07FB-1ABA-43F5-811E-9F3EA435A3A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877175" y="5335587"/>
            <a:ext cx="28575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7055993-9261-46B4-8C58-D5F44D9B0413}" type="datetime'D''''''''''''''''''''''''''''e''''''''''''''''''''''''''''''c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Dec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95FD307A-9FA0-4505-AB3C-41DB3DD08DBE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767763" y="5335587"/>
            <a:ext cx="24923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42938080-05C6-493E-A625-3764F09533FB}" type="datetime'''J''''''''''a''n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an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2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9536113" y="2246313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3BE65C-ED22-4C2B-87A7-E2948FBA521F}" type="datetime'''''''''''6'''''''',''''''7''''''4''''5'''''''''">
              <a:rPr lang="en-GB" altLang="en-US" sz="1400" smtClean="0">
                <a:solidFill>
                  <a:srgbClr val="000000"/>
                </a:solidFill>
                <a:effectLst/>
              </a:rPr>
              <a:pPr/>
              <a:t>6,745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CD00C85-1BD5-4435-A190-4FB4701D017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9628188" y="5335587"/>
            <a:ext cx="27305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BDA6F19-596A-44A0-BA04-D6776285E01E}" type="datetime'''''''''''''F''''''''''''''''''''''''''eb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Feb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5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0407650" y="1984375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C553A2F-B70B-4C16-A7C4-5E85653EC7DF}" type="datetime'''''''''''''''''8,''''13''''8'''''''''''''''''''''''''">
              <a:rPr lang="en-GB" altLang="en-US" sz="1400" smtClean="0">
                <a:solidFill>
                  <a:srgbClr val="000000"/>
                </a:solidFill>
                <a:effectLst/>
              </a:rPr>
              <a:pPr/>
              <a:t>8,138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D6EFDA10-9357-4F77-81CA-51C3BE586561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0480675" y="5335587"/>
            <a:ext cx="31273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C7C704F-FDEC-45AC-ADFE-58795018162D}" type="datetime'''''''''''''''''''Ma''''r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Mar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8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976438" y="2984500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8F11D2F-EF46-47D1-BE95-59A3A851C340}" type="datetime'''''5'',''''''''33''''''''''''''''''''''''2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5,332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4B686C9-989B-42F2-AD3C-499033883D52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3559175" y="5335587"/>
            <a:ext cx="2047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E5D630C-30CE-40EC-B362-F93E831A5568}" type="datetime'''''J''''''''''''''u''''''''''''''''''''''''''''''''''''''''l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u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11E16AD-AB8F-4718-B6E3-604938519AFC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>
            <a:off x="11010901" y="4311650"/>
            <a:ext cx="257175" cy="0"/>
          </a:xfrm>
          <a:prstGeom prst="line">
            <a:avLst/>
          </a:prstGeom>
          <a:ln w="28575" cap="rnd" cmpd="sng" algn="ctr">
            <a:solidFill>
              <a:srgbClr val="A4264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28509CC-1AAC-49B5-8349-A98D6740BD29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">
          <a:xfrm>
            <a:off x="11010901" y="4594225"/>
            <a:ext cx="257175" cy="0"/>
          </a:xfrm>
          <a:prstGeom prst="line">
            <a:avLst/>
          </a:prstGeom>
          <a:ln w="28575" cap="rnd" cmpd="sng" algn="ctr">
            <a:solidFill>
              <a:srgbClr val="1E5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1333162" y="4217988"/>
            <a:ext cx="444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C3273BA8-815C-489F-B934-33888AC3F543}" type="datetime'''F''Y ''''''''''2''''''4'''''''''''''''''''''''''''''''''''''">
              <a:rPr lang="en-US" altLang="en-US" sz="1600" smtClean="0">
                <a:solidFill>
                  <a:srgbClr val="000000"/>
                </a:solidFill>
              </a:rPr>
              <a:pPr/>
              <a:t>FY 24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48CC1E73-9CF2-41BB-A0AE-DBDB552C4D77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1333163" y="4500563"/>
            <a:ext cx="444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BBC8464F-979A-43F7-8ECE-4595279E4A79}" type="datetime'''''''''''''''''''''F''Y ''''23'''''''">
              <a:rPr lang="en-US" altLang="en-US" sz="1600" smtClean="0">
                <a:solidFill>
                  <a:srgbClr val="000000"/>
                </a:solidFill>
              </a:rPr>
              <a:pPr/>
              <a:t>FY 23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15BDD44-E354-40B4-868D-D4C948D2A74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7EFD475-9FFB-4CA2-B03B-4A6211A11EED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7">
            <p14:nvContentPartPr>
              <p14:cNvPr id="24" name="Ink 23">
                <a:extLst>
                  <a:ext uri="{FF2B5EF4-FFF2-40B4-BE49-F238E27FC236}">
                    <a16:creationId xmlns:a16="http://schemas.microsoft.com/office/drawing/2014/main" id="{38F85CCD-8EE0-4864-A027-2A255A0DFED8}"/>
                  </a:ext>
                </a:extLst>
              </p14:cNvPr>
              <p14:cNvContentPartPr/>
              <p14:nvPr/>
            </p14:nvContentPartPr>
            <p14:xfrm>
              <a:off x="990045" y="4171800"/>
              <a:ext cx="360" cy="360"/>
            </p14:xfrm>
          </p:contentPart>
        </mc:Choice>
        <mc:Fallback xmlns="">
          <p:pic>
            <p:nvPicPr>
              <p:cNvPr id="24" name="Ink 23">
                <a:extLst>
                  <a:ext uri="{FF2B5EF4-FFF2-40B4-BE49-F238E27FC236}">
                    <a16:creationId xmlns:a16="http://schemas.microsoft.com/office/drawing/2014/main" id="{38F85CCD-8EE0-4864-A027-2A255A0DFED8}"/>
                  </a:ext>
                </a:extLst>
              </p:cNvPr>
              <p:cNvPicPr/>
              <p:nvPr/>
            </p:nvPicPr>
            <p:blipFill>
              <a:blip r:embed="rId50"/>
              <a:stretch>
                <a:fillRect/>
              </a:stretch>
            </p:blipFill>
            <p:spPr>
              <a:xfrm>
                <a:off x="985725" y="4167480"/>
                <a:ext cx="9000" cy="9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1">
            <p14:nvContentPartPr>
              <p14:cNvPr id="25" name="Ink 24">
                <a:extLst>
                  <a:ext uri="{FF2B5EF4-FFF2-40B4-BE49-F238E27FC236}">
                    <a16:creationId xmlns:a16="http://schemas.microsoft.com/office/drawing/2014/main" id="{56162691-EF1B-4F01-89EC-25EBA7B4E81D}"/>
                  </a:ext>
                </a:extLst>
              </p14:cNvPr>
              <p14:cNvContentPartPr/>
              <p14:nvPr/>
            </p14:nvContentPartPr>
            <p14:xfrm>
              <a:off x="1952325" y="6743280"/>
              <a:ext cx="360" cy="360"/>
            </p14:xfrm>
          </p:contentPart>
        </mc:Choice>
        <mc:Fallback xmlns="">
          <p:pic>
            <p:nvPicPr>
              <p:cNvPr id="25" name="Ink 24">
                <a:extLst>
                  <a:ext uri="{FF2B5EF4-FFF2-40B4-BE49-F238E27FC236}">
                    <a16:creationId xmlns:a16="http://schemas.microsoft.com/office/drawing/2014/main" id="{56162691-EF1B-4F01-89EC-25EBA7B4E81D}"/>
                  </a:ext>
                </a:extLst>
              </p:cNvPr>
              <p:cNvPicPr/>
              <p:nvPr/>
            </p:nvPicPr>
            <p:blipFill>
              <a:blip r:embed="rId50"/>
              <a:stretch>
                <a:fillRect/>
              </a:stretch>
            </p:blipFill>
            <p:spPr>
              <a:xfrm>
                <a:off x="1948005" y="6738960"/>
                <a:ext cx="9000" cy="9000"/>
              </a:xfrm>
              <a:prstGeom prst="rect">
                <a:avLst/>
              </a:prstGeom>
            </p:spPr>
          </p:pic>
        </mc:Fallback>
      </mc:AlternateContent>
      <p:sp>
        <p:nvSpPr>
          <p:cNvPr id="86" name="ee4pFootnotes">
            <a:extLst>
              <a:ext uri="{FF2B5EF4-FFF2-40B4-BE49-F238E27FC236}">
                <a16:creationId xmlns:a16="http://schemas.microsoft.com/office/drawing/2014/main" id="{88CB0CF6-AD2E-4A1C-B624-4925571E05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325" y="6516185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sym typeface="Trebuchet MS" panose="020B0603020202020204" pitchFamily="34" charset="0"/>
              </a:rPr>
              <a:t>Source: ICEMA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7B34400-62FE-46A5-9DFF-ED7BDC5C2BB7}"/>
              </a:ext>
            </a:extLst>
          </p:cNvPr>
          <p:cNvSpPr txBox="1"/>
          <p:nvPr/>
        </p:nvSpPr>
        <p:spPr>
          <a:xfrm>
            <a:off x="1069975" y="1504951"/>
            <a:ext cx="904968" cy="1682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sym typeface="Trebuchet MS" panose="020B0603020202020204" pitchFamily="34" charset="0"/>
              </a:rPr>
              <a:t>Units sold</a:t>
            </a:r>
          </a:p>
        </p:txBody>
      </p:sp>
    </p:spTree>
    <p:extLst>
      <p:ext uri="{BB962C8B-B14F-4D97-AF65-F5344CB8AC3E}">
        <p14:creationId xmlns:p14="http://schemas.microsoft.com/office/powerpoint/2010/main" val="4206746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693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286" imgH="286" progId="TCLayout.ActiveDocument.1">
                  <p:embed/>
                </p:oleObj>
              </mc:Choice>
              <mc:Fallback>
                <p:oleObj name="think-cell Slide" r:id="rId48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2" name="Rectangle 27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813" y="226966"/>
            <a:ext cx="10933350" cy="332399"/>
          </a:xfrm>
        </p:spPr>
        <p:txBody>
          <a:bodyPr vert="horz"/>
          <a:lstStyle/>
          <a:p>
            <a:r>
              <a:rPr lang="en-US" b="1" dirty="0">
                <a:solidFill>
                  <a:schemeClr val="bg1"/>
                </a:solidFill>
              </a:rPr>
              <a:t>Earthmoving Equipment: </a:t>
            </a:r>
            <a:r>
              <a:rPr lang="en-US" dirty="0">
                <a:solidFill>
                  <a:schemeClr val="bg1"/>
                </a:solidFill>
              </a:rPr>
              <a:t>Historical Trend of Export Sales</a:t>
            </a:r>
          </a:p>
        </p:txBody>
      </p:sp>
      <p:graphicFrame>
        <p:nvGraphicFramePr>
          <p:cNvPr id="45" name="Chart 44">
            <a:extLst>
              <a:ext uri="{FF2B5EF4-FFF2-40B4-BE49-F238E27FC236}">
                <a16:creationId xmlns:a16="http://schemas.microsoft.com/office/drawing/2014/main" id="{BE518CC8-2BB0-48BA-76E5-630A5C9C62E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36375968"/>
              </p:ext>
            </p:extLst>
          </p:nvPr>
        </p:nvGraphicFramePr>
        <p:xfrm>
          <a:off x="939800" y="1422400"/>
          <a:ext cx="9756775" cy="3873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23900" y="4875213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BD712EB-1AE5-487E-BF20-F2C48877F2A3}" type="datetime'''''5''''''''''''''''''''0''''''''''''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33413" y="4629150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7580D9C-27E1-4858-8E8D-292953FFF867}" type="datetime'''''''''''''''''1''''''''''00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33413" y="4381500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68FFA97-F62B-411A-97DC-2B27E212F716}" type="datetime'''''''''''''''''''''''1''''''''''''5''''''''''0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33413" y="4133850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CDC30D1-3CF1-4B77-85D0-6BC806AC4A8F}" type="datetime'''''2''''''0''''''0''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33413" y="3886200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0B21CA8-8FF1-4BAA-8291-762D57E52A42}" type="datetime'''2''''''''''''5''''''''''''''''''''0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33413" y="3640138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CF50620-BF30-4776-9F9F-FFA69983C140}" type="datetime'''''''''3''''''''''''''0''''''''''''''0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33413" y="3392488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1CEBE28-E363-4063-BCAE-3C09066FEE17}" type="datetime'''''''''''''''''''''3''5''''''''''''''''''''0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33413" y="3144838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701E907-F129-4807-9B6F-4B85F01EC914}" type="datetime'''''''''''''''''''4''''''''''''''''''''0''0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33413" y="2897188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9D1AD3B-3AC5-4E6E-AB36-CE72BC83D9AF}" type="datetime'''''''''''4''5''''''''0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5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33413" y="2651125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BC877CA-EC41-45B3-A419-10F7371D5F40}" type="datetime'''''''''''''''''''''5''''''''''''''''''''0''''''0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33413" y="2403475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1F500A8-6FA6-43A5-874A-071026C6BCD7}" type="datetime'''''''''''''''''''''''''''''5''''''''''''''''''50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5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33413" y="2155825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3E0ECC7-C5CA-4CDA-871C-A03A076D1C8F}" type="datetime'''''''''''''''6''''''''''''''''0''''''''''''0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33413" y="1908175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54C4619-493E-4FDE-9D49-5147FFC47BFB}" type="datetime'6''''''5''''''''''''''''''''''''''''''0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5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33413" y="1662113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275CC11-E12C-445E-B196-9A185587606E}" type="datetime'''7''''''0''''''''''''''0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33413" y="1414463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791CFAF-6330-4641-AD63-738C25E07627}" type="datetime'''''75''''''''''''''0''''''''''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5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2A8121E-FC81-40D3-B058-45E234325F6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14388" y="5091113"/>
            <a:ext cx="904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575757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75757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fld id="{83BEFE7A-5AB2-49EA-AC12-821194336620}" type="datetime'''0'''''''''''''''''''''''''''''">
              <a:rPr lang="en-US" altLang="en-US" sz="1400" u="none" strike="noStrike" normalizeH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75757"/>
                </a:buClr>
                <a:buSzTx/>
                <a:buFont typeface="Arial" panose="020B0604020202020204" pitchFamily="34" charset="0"/>
                <a:buChar char="​"/>
                <a:tabLst/>
                <a:defRPr/>
              </a:pPr>
              <a:t>0</a:t>
            </a:fld>
            <a:endParaRPr lang="en-US" sz="1400" u="none" strike="noStrike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33413" y="1079500"/>
            <a:ext cx="8810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Export Sales</a:t>
            </a:r>
          </a:p>
        </p:txBody>
      </p:sp>
      <p:sp useBgFill="1">
        <p:nvSpPr>
          <p:cNvPr id="8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082675" y="2136775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E32C4E9-4B4B-499E-8CEF-DE1848EBA8F1}" type="datetime'60''''''''''''3''''''''''''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603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 useBgFill="1">
        <p:nvSpPr>
          <p:cNvPr id="5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66800" y="3113088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B185419-6E23-438C-9830-5D0D78A59173}" type="datetime'''''''''3''''''''74''''''''''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4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556C819-F711-419D-883C-5897179D443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730375" y="5272088"/>
            <a:ext cx="32861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F622ABD-F475-40CE-AF9F-025DA77BD86D}" type="datetime'''''''''''''M''''''''''''''a''''''''''y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May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9B83915-2A28-47D6-875C-D959919D619D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638425" y="5272088"/>
            <a:ext cx="25717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A41F055-6D1D-4A0D-A61B-B53D95E6EB84}" type="datetime'''J''''''''''''''''''''''u''''''''''''''''''''''''''''''n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un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11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608388" y="2881313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561884C-FD1E-4F7B-ABD8-63FF4A2C756A}" type="datetime'''''''4''''''''''''7''''''''''''''''''''''8'''''''''''''''">
              <a:rPr lang="en-GB" altLang="en-US" sz="1400" smtClean="0">
                <a:effectLst/>
                <a:sym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478</a:t>
            </a:fld>
            <a:endParaRPr lang="en-GB" sz="1400" dirty="0">
              <a:sym typeface="+mn-lt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4B686C9-989B-42F2-AD3C-499033883D5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536950" y="5272088"/>
            <a:ext cx="2047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E5D630C-30CE-40EC-B362-F93E831A5568}" type="datetime'''''J''''''''''''''u''''''''''''''''''''''''''''''''''''''''l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u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4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349750" y="2846388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4DE47A8-301B-4F38-9537-B8272916D12A}" type="datetime'''4''''''''''''''''2''''''''''''8'">
              <a:rPr lang="en-GB" altLang="en-US" sz="1400" smtClean="0">
                <a:solidFill>
                  <a:srgbClr val="000000"/>
                </a:solidFill>
                <a:effectLst/>
              </a:rPr>
              <a:pPr/>
              <a:t>428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6F233A3-BFA9-441D-B9D2-B9B5A7531AE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364038" y="5272088"/>
            <a:ext cx="2936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B6883F65-7E84-400D-946E-D0FE5E5B06A0}" type="datetime'''''''''''''A''''''''''''u''''''''''''''''''''''g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Aug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AF7AC4C4-ABC9-41EB-A5B8-4B194DD6B82D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243513" y="5272088"/>
            <a:ext cx="27622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9BE29EB7-45F5-4C94-BA69-BB592F9AB674}" type="datetime'''''''''S''''''''''''''''''''''''''''''''''''ep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Sep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A8BF74A2-C401-49B2-A884-8DBD61953683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122988" y="5272088"/>
            <a:ext cx="26511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5CC1375A-F86D-446F-B7CE-B771FB205842}" type="datetime'''''''''''''''''''''O''''''''''''''c''''''t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Oct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4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6965950" y="2212975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9A13BC-D77A-43BF-81BC-B4E96B90E112}" type="datetime'''''''''''''''''''5''''''''''''''''''5''''''''''''''''''''''6'">
              <a:rPr lang="en-GB" altLang="en-US" sz="1400" smtClean="0">
                <a:effectLst/>
              </a:rPr>
              <a:pPr/>
              <a:t>556</a:t>
            </a:fld>
            <a:endParaRPr lang="en-GB" sz="1400" dirty="0">
              <a:sym typeface="+mn-lt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715586C-C3AD-48FE-B59B-94B8B18890F4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975475" y="5272088"/>
            <a:ext cx="30162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9115E27-8626-4463-85E0-9F182F69FB6F}" type="datetime'N''''''''''''''''''''''''''''''''o''''''''v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Nov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7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7837488" y="1584325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B261F0-5C25-4363-93ED-08AEC9A0AA12}" type="datetime'''''''''''''''''''''''7''''''4''''6'''''''''''''''''">
              <a:rPr lang="en-GB" altLang="en-US" sz="1400" smtClean="0">
                <a:solidFill>
                  <a:srgbClr val="000000"/>
                </a:solidFill>
                <a:effectLst/>
              </a:rPr>
              <a:pPr/>
              <a:t>746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DA5F07FB-1ABA-43F5-811E-9F3EA435A3A0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854950" y="5272088"/>
            <a:ext cx="28575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7055993-9261-46B4-8C58-D5F44D9B0413}" type="datetime'D''''''''''''''''''''''''''''e''''''''''''''''''''''''''''''c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Dec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4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8709025" y="1976438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72A50F-1209-45C5-AC9B-F022EA99E973}" type="datetime'''''''''''''''''6''''''''''''''''''''''''''''04'''''''''''''''">
              <a:rPr lang="en-GB" altLang="en-US" sz="1400" smtClean="0">
                <a:effectLst/>
              </a:rPr>
              <a:pPr/>
              <a:t>604</a:t>
            </a:fld>
            <a:endParaRPr lang="en-GB" sz="1400" dirty="0">
              <a:sym typeface="+mn-lt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95FD307A-9FA0-4505-AB3C-41DB3DD08DBE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8745538" y="5272088"/>
            <a:ext cx="24923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42938080-05C6-493E-A625-3764F09533FB}" type="datetime'''J''''''''''a''n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an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CD00C85-1BD5-4435-A190-4FB4701D0175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9605963" y="5272088"/>
            <a:ext cx="27305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BDA6F19-596A-44A0-BA04-D6776285E01E}" type="datetime'''''''''''''F''''''''''''''''''''''''''eb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Feb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16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0453688" y="1584325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C026FCC-5DF8-400F-967B-A86737C6D57A}" type="datetime'''''''''74''''''''''6'''''''''''''''''''''''''''''''''''''''''">
              <a:rPr lang="en-GB" altLang="en-US" sz="1400" smtClean="0"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6</a:t>
            </a:fld>
            <a:endParaRPr lang="en-GB" sz="1400" dirty="0">
              <a:sym typeface="+mn-lt"/>
            </a:endParaRP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D6EFDA10-9357-4F77-81CA-51C3BE586561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0458450" y="5272088"/>
            <a:ext cx="31273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C7C704F-FDEC-45AC-ADFE-58795018162D}" type="datetime'''''''''''''''''''Ma''''r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Mar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10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1954213" y="1419225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C3BAC63-EA6E-431D-9ADB-18DCEE1F335A}" type="datetime'''''''''''''7''''''''4''''''''''''8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748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CF2356D-F2B1-4977-80A4-698019BAEACE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887413" y="5272088"/>
            <a:ext cx="27146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A63BF62-6532-4B7C-8CCD-AC040EB7E9BE}" type="datetime'''''A''''''''''''''''''p''''''''''''''r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Apr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11E16AD-AB8F-4718-B6E3-604938519AFC}"/>
              </a:ext>
            </a:extLst>
          </p:cNvPr>
          <p:cNvCxnSpPr/>
          <p:nvPr>
            <p:custDataLst>
              <p:tags r:id="rId42"/>
            </p:custDataLst>
          </p:nvPr>
        </p:nvCxnSpPr>
        <p:spPr bwMode="gray">
          <a:xfrm>
            <a:off x="11010901" y="4311650"/>
            <a:ext cx="257175" cy="0"/>
          </a:xfrm>
          <a:prstGeom prst="line">
            <a:avLst/>
          </a:prstGeom>
          <a:ln w="28575" cap="rnd" cmpd="sng" algn="ctr">
            <a:solidFill>
              <a:srgbClr val="A4264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28509CC-1AAC-49B5-8349-A98D6740BD29}"/>
              </a:ext>
            </a:extLst>
          </p:cNvPr>
          <p:cNvCxnSpPr/>
          <p:nvPr>
            <p:custDataLst>
              <p:tags r:id="rId43"/>
            </p:custDataLst>
          </p:nvPr>
        </p:nvCxnSpPr>
        <p:spPr bwMode="gray">
          <a:xfrm>
            <a:off x="11010901" y="4594225"/>
            <a:ext cx="257175" cy="0"/>
          </a:xfrm>
          <a:prstGeom prst="line">
            <a:avLst/>
          </a:prstGeom>
          <a:ln w="28575" cap="rnd" cmpd="sng" algn="ctr">
            <a:solidFill>
              <a:srgbClr val="1E5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1333164" y="4217988"/>
            <a:ext cx="39846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F6C71AB5-CB51-4664-AA90-084D48202345}" type="datetime'''''''''''''F''''Y''''''''''''''''''''''2''''''''''''''''''4'">
              <a:rPr lang="en-US" altLang="en-US" sz="1600" smtClean="0">
                <a:solidFill>
                  <a:srgbClr val="000000"/>
                </a:solidFill>
              </a:rPr>
              <a:pPr/>
              <a:t>FY24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48CC1E73-9CF2-41BB-A0AE-DBDB552C4D77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11333163" y="4500563"/>
            <a:ext cx="444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A0FAF6C6-0D66-4BC4-8DD1-F99BC8F03BF7}" type="datetime'''''''F''''''''''''''''''''''Y'''''''''''' ''''''''''''23'''''">
              <a:rPr lang="en-US" altLang="en-US" sz="1600" smtClean="0">
                <a:solidFill>
                  <a:srgbClr val="000000"/>
                </a:solidFill>
              </a:rPr>
              <a:pPr/>
              <a:t>FY 23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15BDD44-E354-40B4-868D-D4C948D2A74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7EFD475-9FFB-4CA2-B03B-4A6211A11EED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51">
            <p14:nvContentPartPr>
              <p14:cNvPr id="24" name="Ink 23">
                <a:extLst>
                  <a:ext uri="{FF2B5EF4-FFF2-40B4-BE49-F238E27FC236}">
                    <a16:creationId xmlns:a16="http://schemas.microsoft.com/office/drawing/2014/main" id="{38F85CCD-8EE0-4864-A027-2A255A0DFED8}"/>
                  </a:ext>
                </a:extLst>
              </p14:cNvPr>
              <p14:cNvContentPartPr/>
              <p14:nvPr/>
            </p14:nvContentPartPr>
            <p14:xfrm>
              <a:off x="990045" y="4171800"/>
              <a:ext cx="360" cy="360"/>
            </p14:xfrm>
          </p:contentPart>
        </mc:Choice>
        <mc:Fallback xmlns="">
          <p:pic>
            <p:nvPicPr>
              <p:cNvPr id="24" name="Ink 23">
                <a:extLst>
                  <a:ext uri="{FF2B5EF4-FFF2-40B4-BE49-F238E27FC236}">
                    <a16:creationId xmlns:a16="http://schemas.microsoft.com/office/drawing/2014/main" id="{38F85CCD-8EE0-4864-A027-2A255A0DFED8}"/>
                  </a:ext>
                </a:extLst>
              </p:cNvPr>
              <p:cNvPicPr/>
              <p:nvPr/>
            </p:nvPicPr>
            <p:blipFill>
              <a:blip r:embed="rId52"/>
              <a:stretch>
                <a:fillRect/>
              </a:stretch>
            </p:blipFill>
            <p:spPr>
              <a:xfrm>
                <a:off x="985725" y="4167480"/>
                <a:ext cx="9000" cy="9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3">
            <p14:nvContentPartPr>
              <p14:cNvPr id="25" name="Ink 24">
                <a:extLst>
                  <a:ext uri="{FF2B5EF4-FFF2-40B4-BE49-F238E27FC236}">
                    <a16:creationId xmlns:a16="http://schemas.microsoft.com/office/drawing/2014/main" id="{56162691-EF1B-4F01-89EC-25EBA7B4E81D}"/>
                  </a:ext>
                </a:extLst>
              </p14:cNvPr>
              <p14:cNvContentPartPr/>
              <p14:nvPr/>
            </p14:nvContentPartPr>
            <p14:xfrm>
              <a:off x="1952325" y="6743280"/>
              <a:ext cx="360" cy="360"/>
            </p14:xfrm>
          </p:contentPart>
        </mc:Choice>
        <mc:Fallback xmlns="">
          <p:pic>
            <p:nvPicPr>
              <p:cNvPr id="25" name="Ink 24">
                <a:extLst>
                  <a:ext uri="{FF2B5EF4-FFF2-40B4-BE49-F238E27FC236}">
                    <a16:creationId xmlns:a16="http://schemas.microsoft.com/office/drawing/2014/main" id="{56162691-EF1B-4F01-89EC-25EBA7B4E81D}"/>
                  </a:ext>
                </a:extLst>
              </p:cNvPr>
              <p:cNvPicPr/>
              <p:nvPr/>
            </p:nvPicPr>
            <p:blipFill>
              <a:blip r:embed="rId52"/>
              <a:stretch>
                <a:fillRect/>
              </a:stretch>
            </p:blipFill>
            <p:spPr>
              <a:xfrm>
                <a:off x="1948005" y="6738960"/>
                <a:ext cx="9000" cy="9000"/>
              </a:xfrm>
              <a:prstGeom prst="rect">
                <a:avLst/>
              </a:prstGeom>
            </p:spPr>
          </p:pic>
        </mc:Fallback>
      </mc:AlternateContent>
      <p:sp>
        <p:nvSpPr>
          <p:cNvPr id="86" name="ee4pFootnotes">
            <a:extLst>
              <a:ext uri="{FF2B5EF4-FFF2-40B4-BE49-F238E27FC236}">
                <a16:creationId xmlns:a16="http://schemas.microsoft.com/office/drawing/2014/main" id="{88CB0CF6-AD2E-4A1C-B624-4925571E05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325" y="6516185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sym typeface="Trebuchet MS" panose="020B0603020202020204" pitchFamily="34" charset="0"/>
              </a:rPr>
              <a:t>Source: ICEMA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E2056D5-F317-4167-AE66-AA26614CA9B1}"/>
              </a:ext>
            </a:extLst>
          </p:cNvPr>
          <p:cNvSpPr txBox="1"/>
          <p:nvPr/>
        </p:nvSpPr>
        <p:spPr>
          <a:xfrm>
            <a:off x="859632" y="1285932"/>
            <a:ext cx="904968" cy="1682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sym typeface="Trebuchet MS" panose="020B0603020202020204" pitchFamily="34" charset="0"/>
              </a:rPr>
              <a:t>Units sold</a:t>
            </a:r>
          </a:p>
        </p:txBody>
      </p:sp>
    </p:spTree>
    <p:extLst>
      <p:ext uri="{BB962C8B-B14F-4D97-AF65-F5344CB8AC3E}">
        <p14:creationId xmlns:p14="http://schemas.microsoft.com/office/powerpoint/2010/main" val="4252615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AF2DDA5-772A-154D-A54F-8818CCC72D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46305" y="2948748"/>
            <a:ext cx="5143221" cy="615950"/>
          </a:xfrm>
        </p:spPr>
        <p:txBody>
          <a:bodyPr/>
          <a:lstStyle/>
          <a:p>
            <a:r>
              <a:rPr lang="en-US" b="1" dirty="0"/>
              <a:t>August 2021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09002E1-7327-984D-83E9-8DD04F7C44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endParaRPr lang="en-US" sz="1100" dirty="0"/>
          </a:p>
          <a:p>
            <a:pPr algn="ctr"/>
            <a:r>
              <a:rPr lang="en-US" dirty="0">
                <a:latin typeface="Arial Nova" panose="020B0504020202020204" pitchFamily="34" charset="0"/>
              </a:rPr>
              <a:t> </a:t>
            </a:r>
            <a:r>
              <a:rPr lang="en-US" sz="2000" dirty="0">
                <a:latin typeface="Arial Nova" panose="020B0504020202020204" pitchFamily="34" charset="0"/>
              </a:rPr>
              <a:t>INDIAN CONSTRUCTION EQUIPMENT INDUSTRY</a:t>
            </a:r>
          </a:p>
          <a:p>
            <a:pPr algn="ctr"/>
            <a:r>
              <a:rPr lang="en-US" sz="3200" dirty="0">
                <a:latin typeface="Arial Nova" panose="020B0504020202020204" pitchFamily="34" charset="0"/>
              </a:rPr>
              <a:t>QUARTERLY SALES REPORT</a:t>
            </a:r>
            <a:endParaRPr lang="en-US" sz="2800" dirty="0">
              <a:latin typeface="Arial Nova" panose="020B05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1C814F-8821-4A86-A9B6-E5D22FB340AB}"/>
              </a:ext>
            </a:extLst>
          </p:cNvPr>
          <p:cNvSpPr txBox="1"/>
          <p:nvPr/>
        </p:nvSpPr>
        <p:spPr>
          <a:xfrm>
            <a:off x="1923738" y="3740236"/>
            <a:ext cx="437230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b="1" dirty="0">
                <a:solidFill>
                  <a:schemeClr val="accent5">
                    <a:lumMod val="20000"/>
                    <a:lumOff val="80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Q1 - FY24</a:t>
            </a:r>
            <a:endParaRPr kumimoji="0" lang="en-IN" sz="22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20000"/>
                  <a:lumOff val="80000"/>
                </a:schemeClr>
              </a:solidFill>
              <a:effectLst/>
              <a:uLnTx/>
              <a:uFillTx/>
              <a:latin typeface="Arial Nova" panose="020B05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336268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1827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286" imgH="286" progId="TCLayout.ActiveDocument.1">
                  <p:embed/>
                </p:oleObj>
              </mc:Choice>
              <mc:Fallback>
                <p:oleObj name="think-cell Slide" r:id="rId4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2" name="Rectangle 27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9340" y="158750"/>
            <a:ext cx="10933350" cy="332399"/>
          </a:xfrm>
        </p:spPr>
        <p:txBody>
          <a:bodyPr vert="horz"/>
          <a:lstStyle/>
          <a:p>
            <a:r>
              <a:rPr lang="en-US" b="1" dirty="0">
                <a:solidFill>
                  <a:schemeClr val="bg1"/>
                </a:solidFill>
              </a:rPr>
              <a:t>Material Handling Equipment: </a:t>
            </a:r>
            <a:r>
              <a:rPr lang="en-US" dirty="0">
                <a:solidFill>
                  <a:schemeClr val="bg1"/>
                </a:solidFill>
              </a:rPr>
              <a:t>Historical Trend of Domestic Sales</a:t>
            </a:r>
          </a:p>
        </p:txBody>
      </p:sp>
      <p:graphicFrame>
        <p:nvGraphicFramePr>
          <p:cNvPr id="59" name="Chart 58">
            <a:extLst>
              <a:ext uri="{FF2B5EF4-FFF2-40B4-BE49-F238E27FC236}">
                <a16:creationId xmlns:a16="http://schemas.microsoft.com/office/drawing/2014/main" id="{D629E879-9187-94FC-B700-4F97B326768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22416345"/>
              </p:ext>
            </p:extLst>
          </p:nvPr>
        </p:nvGraphicFramePr>
        <p:xfrm>
          <a:off x="1050925" y="1485900"/>
          <a:ext cx="10212388" cy="3873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44538" y="4900613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660DCE4-F036-4C60-8E83-EA2D7A76C654}" type="datetime'''''''''''1''''''''''''''''00''''''''''''''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44538" y="4616450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06451C8-94CE-467F-97FC-10FC27F00B1E}" type="datetime'''''''''''''''''''''''''2''''''''''''''''''''''0''''0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44538" y="4330700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7DD5CF2-CF3B-42A7-BE18-D9E00BC0A3A4}" type="datetime'''''''''''''''''''''''''''''''''''3''''''''0''''''''''''0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44538" y="4044950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592095E-D580-4ACF-8AB7-F6C23569AB1A}" type="datetime'''4''''''''''''''''''''0''''0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44538" y="3760788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BD740C0-D9B5-492B-AAF4-0FA45D3C12C6}" type="datetime'5''''''''''''''''''''''''''''''''''0''''''''''''''''0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44538" y="3475038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E9A0929-902A-44F3-AA73-9B5909F46E12}" type="datetime'''''6''''''''''''''''''''0''''''''''''''''''''''''0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44538" y="3189288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58AFB53-8214-4414-A629-5FBEEAE33F43}" type="datetime'''''''7''''''''''''''''''''''''''''0''''''''0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44538" y="2903538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F6F4303-EAB7-4C19-8E0E-7473E04C9E35}" type="datetime'''8''''''''''0''''''''''''''''''''0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44538" y="2619375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B47896D-DD1E-4061-9C38-02132F1B15A9}" type="datetime'''''''''''9''''''0''''''''''''''''''''''''''''''''0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09600" y="2333625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BADE1FD-21D3-45C3-A2FC-5802CFB23B23}" type="datetime'1'''''''',''''0''''''''''''0''''0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0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09600" y="2047875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701C397-0DD7-49B0-9856-D6FD2D50C457}" type="datetime'''''''''1,''''''1''0''''''''''''''''''''''0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1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09600" y="176371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66F350C-6A04-43DF-BA41-938B83A56EFD}" type="datetime'''''''''''''''1'''''''''',2''''''''''00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2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09600" y="147796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4D10658-005C-423B-97EF-C51D4D8225BE}" type="datetime'''''''1'''''''''''',''''''''''''''''3''''''0''''''0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3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2A8121E-FC81-40D3-B058-45E234325F6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925513" y="5154612"/>
            <a:ext cx="904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575757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75757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fld id="{83BEFE7A-5AB2-49EA-AC12-821194336620}" type="datetime'''0'''''''''''''''''''''''''''''">
              <a:rPr lang="en-US" altLang="en-US" sz="1400" u="none" strike="noStrike" normalizeH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75757"/>
                </a:buClr>
                <a:buSzTx/>
                <a:buFont typeface="Arial" panose="020B0604020202020204" pitchFamily="34" charset="0"/>
                <a:buChar char="​"/>
                <a:tabLst/>
                <a:defRPr/>
              </a:pPr>
              <a:t>0</a:t>
            </a:fld>
            <a:endParaRPr lang="en-US" sz="1400" u="none" strike="noStrike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09600" y="1143000"/>
            <a:ext cx="10842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Domestic Sales</a:t>
            </a:r>
          </a:p>
        </p:txBody>
      </p:sp>
      <p:sp useBgFill="1">
        <p:nvSpPr>
          <p:cNvPr id="5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193800" y="2744788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2D9C87A-251E-4A8D-A8F7-4D7FB757D454}" type="datetime'''''8''''''''''''''''''5''''''''''4'''''''''''''''''">
              <a:rPr lang="en-GB" altLang="en-US" sz="1400" smtClean="0">
                <a:solidFill>
                  <a:srgbClr val="000000"/>
                </a:solidFill>
                <a:effectLst/>
              </a:rPr>
              <a:pPr/>
              <a:t>854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CF2356D-F2B1-4977-80A4-698019BAEAC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98538" y="5335587"/>
            <a:ext cx="27146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A63BF62-6532-4B7C-8CCD-AC040EB7E9BE}" type="datetime'''''A''''''''''''''''''p''''''''''''''r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Apr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065338" y="3352800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7BE12773-3458-4382-B0D5-0B3F66C6AF72}" type="datetime'''''''''''''''''''''''''6''''4''''''''''1''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641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556C819-F711-419D-883C-5897179D443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841500" y="5335587"/>
            <a:ext cx="32861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F622ABD-F475-40CE-AF9F-025DA77BD86D}" type="datetime'''''''''''''M''''''''''''''a''''''''''y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May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9B83915-2A28-47D6-875C-D959919D619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749550" y="5335587"/>
            <a:ext cx="25717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A41F055-6D1D-4A0D-A61B-B53D95E6EB84}" type="datetime'''J''''''''''''''''''''''u''''''''''''''''''''''''''''''n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un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7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810000" y="3011488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A1C51E-A6DE-43CF-A5D5-A5A0C2F3D01E}" type="datetime'''''''''''''''''''7''''''''''61'''''''''''">
              <a:rPr lang="en-GB" altLang="en-US" sz="1400" smtClean="0">
                <a:solidFill>
                  <a:srgbClr val="000000"/>
                </a:solidFill>
                <a:effectLst/>
              </a:rPr>
              <a:pPr/>
              <a:t>761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4B686C9-989B-42F2-AD3C-499033883D52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648075" y="5335587"/>
            <a:ext cx="2047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E5D630C-30CE-40EC-B362-F93E831A5568}" type="datetime'''''J''''''''''''''u''''''''''''''''''''''''''''''''''''''''l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u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6F233A3-BFA9-441D-B9D2-B9B5A7531AE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475163" y="5335587"/>
            <a:ext cx="2936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B6883F65-7E84-400D-946E-D0FE5E5B06A0}" type="datetime'''''''''''''A''''''''''''u''''''''''''''''''''''g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Aug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8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553075" y="2557463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420158-CA34-427D-8CCD-D6EFE5B9D009}" type="datetime'''''''''''''''''''''''''''9''''''20'''''''''''''''''">
              <a:rPr lang="en-GB" altLang="en-US" sz="1400" smtClean="0">
                <a:solidFill>
                  <a:srgbClr val="000000"/>
                </a:solidFill>
                <a:effectLst/>
              </a:rPr>
              <a:pPr/>
              <a:t>92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AF7AC4C4-ABC9-41EB-A5B8-4B194DD6B82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354638" y="5335587"/>
            <a:ext cx="27622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9BE29EB7-45F5-4C94-BA69-BB592F9AB674}" type="datetime'''''''''S''''''''''''''''''''''''''''''''''''ep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Sep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11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426200" y="2451100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6BEA0C8-1701-4EA2-B132-5950F9555095}" type="datetime'''''''''''9''''''''''''''''''''''''''''5''''''''''7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957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A8BF74A2-C401-49B2-A884-8DBD61953683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234113" y="5335587"/>
            <a:ext cx="26511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5CC1375A-F86D-446F-B7CE-B771FB205842}" type="datetime'''''''''''''''''''''O''''''''''''''c''''''t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Oct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8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297738" y="2532063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04BD385-CF54-40F5-A3DC-8859A88DBD3A}" type="datetime'''''''''''''9''''''''2''''''''9'''''''''''''''''''''''''''">
              <a:rPr lang="en-GB" altLang="en-US" sz="1400" smtClean="0">
                <a:solidFill>
                  <a:srgbClr val="000000"/>
                </a:solidFill>
                <a:effectLst/>
              </a:rPr>
              <a:pPr/>
              <a:t>929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715586C-C3AD-48FE-B59B-94B8B18890F4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086600" y="5335587"/>
            <a:ext cx="30162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9115E27-8626-4463-85E0-9F182F69FB6F}" type="datetime'N''''''''''''''''''''''''''''''''o''''''''v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Nov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87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169274" y="2032000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463C3E1-AFBF-4BD2-A615-F6D1C700F7A3}" type="datetime'''1'''''''''''''''''''''''''''',1''''0''4'''''''''''">
              <a:rPr lang="en-GB" altLang="en-US" sz="1400" smtClean="0">
                <a:solidFill>
                  <a:srgbClr val="000000"/>
                </a:solidFill>
                <a:effectLst/>
              </a:rPr>
              <a:pPr/>
              <a:t>1,104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DA5F07FB-1ABA-43F5-811E-9F3EA435A3A0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966075" y="5335587"/>
            <a:ext cx="28575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7055993-9261-46B4-8C58-D5F44D9B0413}" type="datetime'D''''''''''''''''''''''''''''e''''''''''''''''''''''''''''''c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Dec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8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9040812" y="1844675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977ED9-6B36-46E8-BA0B-7095D241CC51}" type="datetime'''''''''''''''1'',''1''''''''''''''''''''''''''70'''''''''''">
              <a:rPr lang="en-GB" altLang="en-US" sz="1400" smtClean="0">
                <a:solidFill>
                  <a:srgbClr val="000000"/>
                </a:solidFill>
                <a:effectLst/>
              </a:rPr>
              <a:pPr/>
              <a:t>1,17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95FD307A-9FA0-4505-AB3C-41DB3DD08DBE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8856663" y="5335587"/>
            <a:ext cx="24923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42938080-05C6-493E-A625-3764F09533FB}" type="datetime'''J''''''''''a''n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an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9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9913937" y="1735138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12736A8-06CD-4207-B9CC-0E2EC6C8ECA4}" type="datetime'''1'''',''''''''''2''''0''''''''''''''''''''''''''8'''">
              <a:rPr lang="en-GB" altLang="en-US" sz="1400" smtClean="0">
                <a:solidFill>
                  <a:srgbClr val="000000"/>
                </a:solidFill>
                <a:effectLst/>
              </a:rPr>
              <a:pPr/>
              <a:t>1,208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CD00C85-1BD5-4435-A190-4FB4701D0175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9717088" y="5335587"/>
            <a:ext cx="27305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BDA6F19-596A-44A0-BA04-D6776285E01E}" type="datetime'''''''''''''F''''''''''''''''''''''''''eb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Feb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D6EFDA10-9357-4F77-81CA-51C3BE586561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0569575" y="5335587"/>
            <a:ext cx="31273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C7C704F-FDEC-45AC-ADFE-58795018162D}" type="datetime'''''''''''''''''''Ma''''r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Mar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7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2938463" y="3148013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D4A25AB-4723-44B5-B122-5265E63DE312}" type="datetime'''''''''''''''''''7''''''''''''''''''''''13'''''">
              <a:rPr lang="en-GB" altLang="en-US" sz="1400" smtClean="0">
                <a:solidFill>
                  <a:srgbClr val="000000"/>
                </a:solidFill>
                <a:effectLst/>
              </a:rPr>
              <a:pPr/>
              <a:t>713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11E16AD-AB8F-4718-B6E3-604938519AFC}"/>
              </a:ext>
            </a:extLst>
          </p:cNvPr>
          <p:cNvCxnSpPr/>
          <p:nvPr>
            <p:custDataLst>
              <p:tags r:id="rId41"/>
            </p:custDataLst>
          </p:nvPr>
        </p:nvCxnSpPr>
        <p:spPr bwMode="gray">
          <a:xfrm>
            <a:off x="11010901" y="4311650"/>
            <a:ext cx="257175" cy="0"/>
          </a:xfrm>
          <a:prstGeom prst="line">
            <a:avLst/>
          </a:prstGeom>
          <a:ln w="28575" cap="rnd" cmpd="sng" algn="ctr">
            <a:solidFill>
              <a:srgbClr val="A4264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50A94F6-6F8C-4BA3-B624-A5D6759EB5F0}"/>
              </a:ext>
            </a:extLst>
          </p:cNvPr>
          <p:cNvCxnSpPr/>
          <p:nvPr>
            <p:custDataLst>
              <p:tags r:id="rId42"/>
            </p:custDataLst>
          </p:nvPr>
        </p:nvCxnSpPr>
        <p:spPr bwMode="gray">
          <a:xfrm>
            <a:off x="11010900" y="4594225"/>
            <a:ext cx="257175" cy="0"/>
          </a:xfrm>
          <a:prstGeom prst="line">
            <a:avLst/>
          </a:prstGeom>
          <a:ln w="28575" cap="rnd" cmpd="sng" algn="ctr">
            <a:solidFill>
              <a:srgbClr val="2959A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1333162" y="4217988"/>
            <a:ext cx="444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D6CBC542-DF18-448B-B252-67B5A2538910}" type="datetime'''''''''''''''''F''''Y'''''' ''2''''4'''''''''''">
              <a:rPr lang="en-US" altLang="en-US" sz="1600" smtClean="0">
                <a:solidFill>
                  <a:srgbClr val="000000"/>
                </a:solidFill>
              </a:rPr>
              <a:pPr/>
              <a:t>FY 24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D4AA7754-D84A-47C9-B22C-5A7B6D6E6079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1333163" y="4500563"/>
            <a:ext cx="444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C565FAC2-C492-491D-9209-B8AC35D95EE3}" type="datetime'FY'''' ''''''''''''''''''''2''''''''''''''''''''''''''3'''''''">
              <a:rPr lang="en-US" altLang="en-US" sz="1600" smtClean="0">
                <a:solidFill>
                  <a:srgbClr val="000000"/>
                </a:solidFill>
              </a:rPr>
              <a:pPr/>
              <a:t>FY 23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15BDD44-E354-40B4-868D-D4C948D2A74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7EFD475-9FFB-4CA2-B03B-4A6211A11EED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50">
            <p14:nvContentPartPr>
              <p14:cNvPr id="24" name="Ink 23">
                <a:extLst>
                  <a:ext uri="{FF2B5EF4-FFF2-40B4-BE49-F238E27FC236}">
                    <a16:creationId xmlns:a16="http://schemas.microsoft.com/office/drawing/2014/main" id="{38F85CCD-8EE0-4864-A027-2A255A0DFED8}"/>
                  </a:ext>
                </a:extLst>
              </p14:cNvPr>
              <p14:cNvContentPartPr/>
              <p14:nvPr/>
            </p14:nvContentPartPr>
            <p14:xfrm>
              <a:off x="990045" y="4171800"/>
              <a:ext cx="360" cy="360"/>
            </p14:xfrm>
          </p:contentPart>
        </mc:Choice>
        <mc:Fallback xmlns="">
          <p:pic>
            <p:nvPicPr>
              <p:cNvPr id="24" name="Ink 23">
                <a:extLst>
                  <a:ext uri="{FF2B5EF4-FFF2-40B4-BE49-F238E27FC236}">
                    <a16:creationId xmlns:a16="http://schemas.microsoft.com/office/drawing/2014/main" id="{38F85CCD-8EE0-4864-A027-2A255A0DFED8}"/>
                  </a:ext>
                </a:extLst>
              </p:cNvPr>
              <p:cNvPicPr/>
              <p:nvPr/>
            </p:nvPicPr>
            <p:blipFill>
              <a:blip r:embed="rId53"/>
              <a:stretch>
                <a:fillRect/>
              </a:stretch>
            </p:blipFill>
            <p:spPr>
              <a:xfrm>
                <a:off x="985725" y="4167480"/>
                <a:ext cx="9000" cy="9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4">
            <p14:nvContentPartPr>
              <p14:cNvPr id="25" name="Ink 24">
                <a:extLst>
                  <a:ext uri="{FF2B5EF4-FFF2-40B4-BE49-F238E27FC236}">
                    <a16:creationId xmlns:a16="http://schemas.microsoft.com/office/drawing/2014/main" id="{56162691-EF1B-4F01-89EC-25EBA7B4E81D}"/>
                  </a:ext>
                </a:extLst>
              </p14:cNvPr>
              <p14:cNvContentPartPr/>
              <p14:nvPr/>
            </p14:nvContentPartPr>
            <p14:xfrm>
              <a:off x="1952325" y="6743280"/>
              <a:ext cx="360" cy="360"/>
            </p14:xfrm>
          </p:contentPart>
        </mc:Choice>
        <mc:Fallback xmlns="">
          <p:pic>
            <p:nvPicPr>
              <p:cNvPr id="25" name="Ink 24">
                <a:extLst>
                  <a:ext uri="{FF2B5EF4-FFF2-40B4-BE49-F238E27FC236}">
                    <a16:creationId xmlns:a16="http://schemas.microsoft.com/office/drawing/2014/main" id="{56162691-EF1B-4F01-89EC-25EBA7B4E81D}"/>
                  </a:ext>
                </a:extLst>
              </p:cNvPr>
              <p:cNvPicPr/>
              <p:nvPr/>
            </p:nvPicPr>
            <p:blipFill>
              <a:blip r:embed="rId53"/>
              <a:stretch>
                <a:fillRect/>
              </a:stretch>
            </p:blipFill>
            <p:spPr>
              <a:xfrm>
                <a:off x="1948005" y="6738960"/>
                <a:ext cx="9000" cy="9000"/>
              </a:xfrm>
              <a:prstGeom prst="rect">
                <a:avLst/>
              </a:prstGeom>
            </p:spPr>
          </p:pic>
        </mc:Fallback>
      </mc:AlternateContent>
      <p:sp>
        <p:nvSpPr>
          <p:cNvPr id="121" name="ee4pFootnotes">
            <a:extLst>
              <a:ext uri="{FF2B5EF4-FFF2-40B4-BE49-F238E27FC236}">
                <a16:creationId xmlns:a16="http://schemas.microsoft.com/office/drawing/2014/main" id="{4DB01B1A-C960-45EB-A2D2-8FB4ABD43C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325" y="6516185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sym typeface="Trebuchet MS" panose="020B0603020202020204" pitchFamily="34" charset="0"/>
              </a:rPr>
              <a:t>Source: ICEMA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D22D4D0-AB23-41C6-BF0E-B1DCBBD115DE}"/>
              </a:ext>
            </a:extLst>
          </p:cNvPr>
          <p:cNvSpPr txBox="1"/>
          <p:nvPr/>
        </p:nvSpPr>
        <p:spPr>
          <a:xfrm>
            <a:off x="1069975" y="1504951"/>
            <a:ext cx="904968" cy="1682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sym typeface="Trebuchet MS" panose="020B0603020202020204" pitchFamily="34" charset="0"/>
              </a:rPr>
              <a:t>Units sold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55">
            <p14:nvContentPartPr>
              <p14:cNvPr id="58" name="Ink 57">
                <a:extLst>
                  <a:ext uri="{FF2B5EF4-FFF2-40B4-BE49-F238E27FC236}">
                    <a16:creationId xmlns:a16="http://schemas.microsoft.com/office/drawing/2014/main" id="{969183C8-B8F8-C2E8-7F5B-DDCBE9D36FB6}"/>
                  </a:ext>
                </a:extLst>
              </p14:cNvPr>
              <p14:cNvContentPartPr/>
              <p14:nvPr/>
            </p14:nvContentPartPr>
            <p14:xfrm>
              <a:off x="1151731" y="2143559"/>
              <a:ext cx="360" cy="360"/>
            </p14:xfrm>
          </p:contentPart>
        </mc:Choice>
        <mc:Fallback xmlns="">
          <p:pic>
            <p:nvPicPr>
              <p:cNvPr id="58" name="Ink 57">
                <a:extLst>
                  <a:ext uri="{FF2B5EF4-FFF2-40B4-BE49-F238E27FC236}">
                    <a16:creationId xmlns:a16="http://schemas.microsoft.com/office/drawing/2014/main" id="{969183C8-B8F8-C2E8-7F5B-DDCBE9D36FB6}"/>
                  </a:ext>
                </a:extLst>
              </p:cNvPr>
              <p:cNvPicPr/>
              <p:nvPr/>
            </p:nvPicPr>
            <p:blipFill>
              <a:blip r:embed="rId56"/>
              <a:stretch>
                <a:fillRect/>
              </a:stretch>
            </p:blipFill>
            <p:spPr>
              <a:xfrm>
                <a:off x="1133731" y="2125559"/>
                <a:ext cx="36000" cy="36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827083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6995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286" imgH="286" progId="TCLayout.ActiveDocument.1">
                  <p:embed/>
                </p:oleObj>
              </mc:Choice>
              <mc:Fallback>
                <p:oleObj name="think-cell Slide" r:id="rId39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2" name="Rectangle 27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9340" y="158750"/>
            <a:ext cx="10933350" cy="332399"/>
          </a:xfrm>
        </p:spPr>
        <p:txBody>
          <a:bodyPr vert="horz"/>
          <a:lstStyle/>
          <a:p>
            <a:r>
              <a:rPr lang="en-US" b="1" dirty="0">
                <a:solidFill>
                  <a:schemeClr val="bg1"/>
                </a:solidFill>
              </a:rPr>
              <a:t>Material Handling Equipment: </a:t>
            </a:r>
            <a:r>
              <a:rPr lang="en-US" dirty="0">
                <a:solidFill>
                  <a:schemeClr val="bg1"/>
                </a:solidFill>
              </a:rPr>
              <a:t>Historical Trend of Export Sales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3CB739B9-1994-26F5-5C7A-A28E78F0790F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0488994"/>
              </p:ext>
            </p:extLst>
          </p:nvPr>
        </p:nvGraphicFramePr>
        <p:xfrm>
          <a:off x="1050925" y="1485900"/>
          <a:ext cx="9810750" cy="3873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2A8121E-FC81-40D3-B058-45E234325F6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925513" y="5154612"/>
            <a:ext cx="904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575757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75757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fld id="{83BEFE7A-5AB2-49EA-AC12-821194336620}" type="datetime'''0'''''''''''''''''''''''''''''">
              <a:rPr lang="en-US" altLang="en-US" sz="1400" u="none" strike="noStrike" normalizeH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75757"/>
                </a:buClr>
                <a:buSzTx/>
                <a:buFont typeface="Arial" panose="020B0604020202020204" pitchFamily="34" charset="0"/>
                <a:buChar char="​"/>
                <a:tabLst/>
                <a:defRPr/>
              </a:pPr>
              <a:t>0</a:t>
            </a:fld>
            <a:endParaRPr lang="en-US" sz="1400" u="none" strike="noStrike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925513" y="4876800"/>
            <a:ext cx="90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63918F2-62F0-4393-87A2-291012184163}" type="datetime'''''''''''''''''5''''''''''''''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835025" y="4568825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DB1CAB5-976C-44EC-8BD7-438AAF120A7A}" type="datetime'''''''''''''''1''''''''''''''''''''''''''0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35025" y="4259263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41EA547-35CE-43FE-9838-239ACB704EEE}" type="datetime'1''''''''''''''''''''''''''''''''''''5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35025" y="3949700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96162FD-E879-4167-B7B3-33CE63612D55}" type="datetime'''''''''''''''''''2''''''''''''''''''''''''''''''''0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35025" y="3641725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EEFA6B6-4F2E-473C-8B3E-01F99F69870E}" type="datetime'''''''25''''''''''''''''''''''''''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35025" y="3332163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ED53B9F-245D-4F2A-9D70-AC7EC654604C}" type="datetime'''30''''''''''''''''''''''''''''''''''''''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35025" y="3022600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0FCA306-F25C-49B3-A514-E4EF5C819CB5}" type="datetime'''''''''''''''''''''''''''''3''''''''''''''''''''''''''''5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35025" y="2714625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2D41E69-0F3E-4351-8DC0-1D74E9E60A5F}" type="datetime'''''''''''4''''''''''''''''''''''''''''''''''''''''''''''''0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35025" y="2405063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73691D8-1911-40B7-B582-8DBAC180BE1E}" type="datetime'4''''''''''''''''''''5''''''''''''''''''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5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835025" y="2095500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0CAAE83-6683-4C46-AEC1-E01B4D892A64}" type="datetime'''''''''''''''''''''''''''''''''''''''5''0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35025" y="1787525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32DCC26-153D-4ED7-9D47-689B46537EC9}" type="datetime'5''5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5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35025" y="1477963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C511B34-9DFC-4625-8904-4C84DDE08E62}" type="datetime'''''''''''''''6''''''''''''''''''''''''0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35024" y="1143000"/>
            <a:ext cx="9207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Export  Sale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CF2356D-F2B1-4977-80A4-698019BAEAC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98538" y="5335588"/>
            <a:ext cx="27146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A63BF62-6532-4B7C-8CCD-AC040EB7E9BE}" type="datetime'''''A''''''''''''''''''p''''''''''''''r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Apr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556C819-F711-419D-883C-5897179D443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841500" y="5335588"/>
            <a:ext cx="32861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F622ABD-F475-40CE-AF9F-025DA77BD86D}" type="datetime'''''''''''''M''''''''''''''a''''''''''y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May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9B83915-2A28-47D6-875C-D959919D619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749550" y="5335588"/>
            <a:ext cx="25717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A41F055-6D1D-4A0D-A61B-B53D95E6EB84}" type="datetime'''J''''''''''''''''''''''u''''''''''''''''''''''''''''''n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un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4B686C9-989B-42F2-AD3C-499033883D5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648075" y="5335588"/>
            <a:ext cx="2047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E5D630C-30CE-40EC-B362-F93E831A5568}" type="datetime'''''J''''''''''''''u''''''''''''''''''''''''''''''''''''''''l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u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6F233A3-BFA9-441D-B9D2-B9B5A7531AE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475163" y="5335588"/>
            <a:ext cx="2936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B6883F65-7E84-400D-946E-D0FE5E5B06A0}" type="datetime'''''''''''''A''''''''''''u''''''''''''''''''''''g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Aug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AF7AC4C4-ABC9-41EB-A5B8-4B194DD6B82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354638" y="5335588"/>
            <a:ext cx="27622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9BE29EB7-45F5-4C94-BA69-BB592F9AB674}" type="datetime'''''''''S''''''''''''''''''''''''''''''''''''ep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Sep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A8BF74A2-C401-49B2-A884-8DBD6195368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234113" y="5335588"/>
            <a:ext cx="26511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5CC1375A-F86D-446F-B7CE-B771FB205842}" type="datetime'''''''''''''''''''''O''''''''''''''c''''''t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Oct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10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7121525" y="3789363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3C0A248-926B-4F27-85EA-D034B6A5F65C}" type="datetime'2''''''''''''''''''''''''''''''''''''''''''''''0'''">
              <a:rPr lang="en-GB" altLang="en-US" sz="1400" smtClean="0"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GB" sz="1400" dirty="0">
              <a:sym typeface="+mn-lt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715586C-C3AD-48FE-B59B-94B8B18890F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086600" y="5335588"/>
            <a:ext cx="30162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9115E27-8626-4463-85E0-9F182F69FB6F}" type="datetime'N''''''''''''''''''''''''''''''''o''''''''v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Nov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DA5F07FB-1ABA-43F5-811E-9F3EA435A3A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966075" y="5335588"/>
            <a:ext cx="28575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7055993-9261-46B4-8C58-D5F44D9B0413}" type="datetime'D''''''''''''''''''''''''''''e''''''''''''''''''''''''''''''c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Dec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7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8864600" y="3605213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A09FF4-EE7B-4C0F-9399-4E85675F9328}" type="datetime'''2''''''''''''''''''''''''''''''''''''''''3'''''''''''''">
              <a:rPr lang="en-GB" altLang="en-US" sz="1400" smtClean="0">
                <a:effectLst/>
              </a:rPr>
              <a:pPr/>
              <a:t>23</a:t>
            </a:fld>
            <a:endParaRPr lang="en-GB" sz="1400" dirty="0">
              <a:sym typeface="+mn-lt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95FD307A-9FA0-4505-AB3C-41DB3DD08DBE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8856663" y="5335588"/>
            <a:ext cx="24923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42938080-05C6-493E-A625-3764F09533FB}" type="datetime'''J''''''''''a''n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an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1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9737725" y="3171825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AA539DA-148B-44B3-B8A7-36B0D57C6A5F}" type="datetime'''3''''''''0'''''''''''''''''''">
              <a:rPr lang="en-GB" altLang="en-US" sz="1400" smtClean="0"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GB" sz="1400" dirty="0">
              <a:sym typeface="+mn-lt"/>
            </a:endParaRP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CD00C85-1BD5-4435-A190-4FB4701D017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717088" y="5335588"/>
            <a:ext cx="27305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BDA6F19-596A-44A0-BA04-D6776285E01E}" type="datetime'''''''''''''F''''''''''''''''''''''''''eb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Feb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D6EFDA10-9357-4F77-81CA-51C3BE586561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0569575" y="5335588"/>
            <a:ext cx="31273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C7C704F-FDEC-45AC-ADFE-58795018162D}" type="datetime'''''''''''''''''''Ma''''r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Mar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11E16AD-AB8F-4718-B6E3-604938519AFC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11010901" y="4311650"/>
            <a:ext cx="257175" cy="0"/>
          </a:xfrm>
          <a:prstGeom prst="line">
            <a:avLst/>
          </a:prstGeom>
          <a:ln w="28575" cap="rnd" cmpd="sng" algn="ctr">
            <a:solidFill>
              <a:srgbClr val="A4264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C19016A-2681-4AC3-B663-C80F72875CB3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>
            <a:off x="11010900" y="4594225"/>
            <a:ext cx="257175" cy="0"/>
          </a:xfrm>
          <a:prstGeom prst="line">
            <a:avLst/>
          </a:prstGeom>
          <a:ln w="28575" cap="rnd" cmpd="sng" algn="ctr">
            <a:solidFill>
              <a:srgbClr val="2959A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1333162" y="4217988"/>
            <a:ext cx="444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D580EC22-46D8-4CF1-9058-4FAC4889B0CE}" type="datetime'''''FY'''' ''''''2''''''''''''''''''''''''''''''4'''">
              <a:rPr lang="en-US" altLang="en-US" sz="1600" smtClean="0">
                <a:solidFill>
                  <a:srgbClr val="000000"/>
                </a:solidFill>
              </a:rPr>
              <a:pPr/>
              <a:t>FY 24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FFC4C39D-2585-428B-B28C-54542B6B9F80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1333163" y="4500563"/>
            <a:ext cx="444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F9B81BFC-6BB6-4BBB-A0F3-9E369A9C22BE}" type="datetime'''F''''''''''''''''''Y'''''''' ''''''''2''''3'''''">
              <a:rPr lang="en-US" altLang="en-US" sz="1600" smtClean="0">
                <a:solidFill>
                  <a:srgbClr val="000000"/>
                </a:solidFill>
              </a:rPr>
              <a:pPr/>
              <a:t>FY 23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15BDD44-E354-40B4-868D-D4C948D2A74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7EFD475-9FFB-4CA2-B03B-4A6211A11EED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2">
            <p14:nvContentPartPr>
              <p14:cNvPr id="24" name="Ink 23">
                <a:extLst>
                  <a:ext uri="{FF2B5EF4-FFF2-40B4-BE49-F238E27FC236}">
                    <a16:creationId xmlns:a16="http://schemas.microsoft.com/office/drawing/2014/main" id="{38F85CCD-8EE0-4864-A027-2A255A0DFED8}"/>
                  </a:ext>
                </a:extLst>
              </p14:cNvPr>
              <p14:cNvContentPartPr/>
              <p14:nvPr/>
            </p14:nvContentPartPr>
            <p14:xfrm>
              <a:off x="990045" y="4171800"/>
              <a:ext cx="360" cy="360"/>
            </p14:xfrm>
          </p:contentPart>
        </mc:Choice>
        <mc:Fallback xmlns="">
          <p:pic>
            <p:nvPicPr>
              <p:cNvPr id="24" name="Ink 23">
                <a:extLst>
                  <a:ext uri="{FF2B5EF4-FFF2-40B4-BE49-F238E27FC236}">
                    <a16:creationId xmlns:a16="http://schemas.microsoft.com/office/drawing/2014/main" id="{38F85CCD-8EE0-4864-A027-2A255A0DFED8}"/>
                  </a:ext>
                </a:extLst>
              </p:cNvPr>
              <p:cNvPicPr/>
              <p:nvPr/>
            </p:nvPicPr>
            <p:blipFill>
              <a:blip r:embed="rId45"/>
              <a:stretch>
                <a:fillRect/>
              </a:stretch>
            </p:blipFill>
            <p:spPr>
              <a:xfrm>
                <a:off x="985725" y="4167480"/>
                <a:ext cx="9000" cy="9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6">
            <p14:nvContentPartPr>
              <p14:cNvPr id="25" name="Ink 24">
                <a:extLst>
                  <a:ext uri="{FF2B5EF4-FFF2-40B4-BE49-F238E27FC236}">
                    <a16:creationId xmlns:a16="http://schemas.microsoft.com/office/drawing/2014/main" id="{56162691-EF1B-4F01-89EC-25EBA7B4E81D}"/>
                  </a:ext>
                </a:extLst>
              </p14:cNvPr>
              <p14:cNvContentPartPr/>
              <p14:nvPr/>
            </p14:nvContentPartPr>
            <p14:xfrm>
              <a:off x="1952325" y="6743280"/>
              <a:ext cx="360" cy="360"/>
            </p14:xfrm>
          </p:contentPart>
        </mc:Choice>
        <mc:Fallback xmlns="">
          <p:pic>
            <p:nvPicPr>
              <p:cNvPr id="25" name="Ink 24">
                <a:extLst>
                  <a:ext uri="{FF2B5EF4-FFF2-40B4-BE49-F238E27FC236}">
                    <a16:creationId xmlns:a16="http://schemas.microsoft.com/office/drawing/2014/main" id="{56162691-EF1B-4F01-89EC-25EBA7B4E81D}"/>
                  </a:ext>
                </a:extLst>
              </p:cNvPr>
              <p:cNvPicPr/>
              <p:nvPr/>
            </p:nvPicPr>
            <p:blipFill>
              <a:blip r:embed="rId45"/>
              <a:stretch>
                <a:fillRect/>
              </a:stretch>
            </p:blipFill>
            <p:spPr>
              <a:xfrm>
                <a:off x="1948005" y="6738960"/>
                <a:ext cx="9000" cy="9000"/>
              </a:xfrm>
              <a:prstGeom prst="rect">
                <a:avLst/>
              </a:prstGeom>
            </p:spPr>
          </p:pic>
        </mc:Fallback>
      </mc:AlternateContent>
      <p:sp>
        <p:nvSpPr>
          <p:cNvPr id="121" name="ee4pFootnotes">
            <a:extLst>
              <a:ext uri="{FF2B5EF4-FFF2-40B4-BE49-F238E27FC236}">
                <a16:creationId xmlns:a16="http://schemas.microsoft.com/office/drawing/2014/main" id="{4DB01B1A-C960-45EB-A2D2-8FB4ABD43C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325" y="6516185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sym typeface="Trebuchet MS" panose="020B0603020202020204" pitchFamily="34" charset="0"/>
              </a:rPr>
              <a:t>Source: ICEMA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62C5968-162A-4C45-9501-655ACACEE396}"/>
              </a:ext>
            </a:extLst>
          </p:cNvPr>
          <p:cNvSpPr txBox="1"/>
          <p:nvPr/>
        </p:nvSpPr>
        <p:spPr>
          <a:xfrm>
            <a:off x="1069975" y="1504951"/>
            <a:ext cx="904968" cy="1682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sym typeface="Trebuchet MS" panose="020B0603020202020204" pitchFamily="34" charset="0"/>
              </a:rPr>
              <a:t>Units sold</a:t>
            </a:r>
          </a:p>
        </p:txBody>
      </p:sp>
    </p:spTree>
    <p:extLst>
      <p:ext uri="{BB962C8B-B14F-4D97-AF65-F5344CB8AC3E}">
        <p14:creationId xmlns:p14="http://schemas.microsoft.com/office/powerpoint/2010/main" val="1788661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5485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286" imgH="286" progId="TCLayout.ActiveDocument.1">
                  <p:embed/>
                </p:oleObj>
              </mc:Choice>
              <mc:Fallback>
                <p:oleObj name="think-cell Slide" r:id="rId47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2" name="Rectangle 27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813" y="226966"/>
            <a:ext cx="10933350" cy="332399"/>
          </a:xfrm>
        </p:spPr>
        <p:txBody>
          <a:bodyPr vert="horz"/>
          <a:lstStyle/>
          <a:p>
            <a:r>
              <a:rPr lang="en-US" b="1" dirty="0">
                <a:solidFill>
                  <a:schemeClr val="bg1"/>
                </a:solidFill>
              </a:rPr>
              <a:t>Concrete Equipment: </a:t>
            </a:r>
            <a:r>
              <a:rPr lang="en-US" dirty="0">
                <a:solidFill>
                  <a:schemeClr val="bg1"/>
                </a:solidFill>
              </a:rPr>
              <a:t>Historical Trend of Domestic Sales</a:t>
            </a:r>
          </a:p>
        </p:txBody>
      </p:sp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id="{48F5BC30-B9E2-334B-DF5E-F945364C32E9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07304391"/>
              </p:ext>
            </p:extLst>
          </p:nvPr>
        </p:nvGraphicFramePr>
        <p:xfrm>
          <a:off x="908050" y="1422400"/>
          <a:ext cx="9923463" cy="3873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01663" y="4857750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6826C64-D9A1-41E8-9DC1-2E906CFCBBA4}" type="datetime'1''0''''''''''0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01663" y="4592638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FFA9802-3E55-4B0A-AEF9-78C7FA067642}" type="datetime'''''''''''''''''2''''''''''''''''00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01663" y="4327525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FCD8575-76A8-4495-AEC9-8910ACCE0640}" type="datetime'3''''''''''''''''''''''''0''''''0''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01663" y="4064000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9F58BFD-D14A-41D4-837F-F0A47DBDE8F8}" type="datetime'''''''''''''''''''''''''''''''''4''0''''0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01663" y="3798888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422C67A-ECF2-44F4-8FD0-159659007F6D}" type="datetime'''''''''''''''5''''''''''''''0''''''''0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01663" y="3533775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C788B3C-28BE-4B40-BAEA-60DDF1EC9D66}" type="datetime'''''''''''''''''''''''6''''0''''''''''''''''''0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01663" y="3268663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74C06EC-A675-41C5-B6BE-E49D3E3EC6BB}" type="datetime'''7''''''''''''''''''''''''''''0''''''0''''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01663" y="3003550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FE250F5-41A1-4271-BF64-172F34348DC5}" type="datetime'8''0''''''''''''''''''''''''''''''''0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01663" y="2738438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405004E-9619-436F-946A-3436039BCF3C}" type="datetime'''''9''''''''''''''''''''''''''''''''''''''''''''0''0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66725" y="2473325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FEB83B7-2AF5-412C-9788-D7F84DCDCFE1}" type="datetime'''''''1'''''''''''''''',''''''0''0''''''''''''''''0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0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66725" y="2209800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AF5D9D7-7FD6-4DEA-8CE2-4A12B658E741}" type="datetime'''1'''''''''',''''''''''''10''''''''0''''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1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66725" y="1944688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7947BA8-D61A-4164-BEC3-76198FE3CAF4}" type="datetime'''''''''''''''''1'''''''''''''''',''''2''''''0''''0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2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66725" y="1679575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F58E0F1-F881-42F0-A55C-ECCD193D09B6}" type="datetime'''''1'''''''',''''3''0''''''''''''''''''''0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3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66725" y="141446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6C9BB2B-AB3A-4B2D-8BF5-D7416BC2C741}" type="datetime'''''''''1'''''''',''''''''''''''''''''4''''''''''''''00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4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2A8121E-FC81-40D3-B058-45E234325F6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82638" y="5091113"/>
            <a:ext cx="904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575757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75757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fld id="{83BEFE7A-5AB2-49EA-AC12-821194336620}" type="datetime'''0'''''''''''''''''''''''''''''">
              <a:rPr lang="en-US" altLang="en-US" sz="1400" u="none" strike="noStrike" normalizeH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75757"/>
                </a:buClr>
                <a:buSzTx/>
                <a:buFont typeface="Arial" panose="020B0604020202020204" pitchFamily="34" charset="0"/>
                <a:buChar char="​"/>
                <a:tabLst/>
                <a:defRPr/>
              </a:pPr>
              <a:t>0</a:t>
            </a:fld>
            <a:endParaRPr lang="en-US" sz="1400" u="none" strike="noStrike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6F52379-C434-8E5A-A52A-7F4CB2C7771B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1862138" y="2436813"/>
            <a:ext cx="0" cy="444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66725" y="1079500"/>
            <a:ext cx="10842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Domestic Sales</a:t>
            </a:r>
          </a:p>
        </p:txBody>
      </p:sp>
      <p:sp useBgFill="1">
        <p:nvSpPr>
          <p:cNvPr id="5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035050" y="2641600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E6AC49-D12D-4497-B8BA-917275552412}" type="datetime'''''''''''''8''7''''''''''''''''''6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76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CF2356D-F2B1-4977-80A4-698019BAEACE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55663" y="5272088"/>
            <a:ext cx="27146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A63BF62-6532-4B7C-8CCD-AC040EB7E9BE}" type="datetime'''''A''''''''''''''''''p''''''''''''''r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Apr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8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633538" y="2244725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140E9F0-022A-4225-8435-BC55B5293762}" type="datetime'''''''''''''1'',0''''''''''''''26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026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556C819-F711-419D-883C-5897179D443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698625" y="5272088"/>
            <a:ext cx="32861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F622ABD-F475-40CE-AF9F-025DA77BD86D}" type="datetime'''''''''''''M''''''''''''''a''''''''''y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May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9B83915-2A28-47D6-875C-D959919D619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606675" y="5272088"/>
            <a:ext cx="25717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A41F055-6D1D-4A0D-A61B-B53D95E6EB84}" type="datetime'''J''''''''''''''''''''''u''''''''''''''''''''''''''''''n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un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5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446463" y="3322638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0AA889-4A21-490E-951E-854E28BFDEB2}" type="datetime'''6''''''''7''''''''''''''''8'''''''''''''''">
              <a:rPr lang="en-GB" altLang="en-US" sz="1400" smtClean="0">
                <a:effectLst/>
              </a:rPr>
              <a:pPr/>
              <a:t>678</a:t>
            </a:fld>
            <a:endParaRPr lang="en-GB" sz="1400" dirty="0">
              <a:sym typeface="+mn-lt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4B686C9-989B-42F2-AD3C-499033883D52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505199" y="5272088"/>
            <a:ext cx="2047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E5D630C-30CE-40EC-B362-F93E831A5568}" type="datetime'''''J''''''''''''''u''''''''''''''''''''''''''''''''''''''''l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u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4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318000" y="3389313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F256A7-A7A7-4388-8ABF-9AC07A994A18}" type="datetime'''''''''''''''''''5''''''9''''''4'''''''''''''''''">
              <a:rPr lang="en-GB" altLang="en-US" sz="1400" smtClean="0">
                <a:solidFill>
                  <a:srgbClr val="000000"/>
                </a:solidFill>
                <a:effectLst/>
              </a:rPr>
              <a:pPr/>
              <a:t>594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6F233A3-BFA9-441D-B9D2-B9B5A7531AE9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332287" y="5272088"/>
            <a:ext cx="2936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B6883F65-7E84-400D-946E-D0FE5E5B06A0}" type="datetime'''''''''''''A''''''''''''u''''''''''''''''''''''g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Aug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47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189538" y="2722563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D65BA3-BA8A-468B-BC48-48FB266FEC71}" type="datetime'''''''''''''9''6''''''3'''''''''''''''''''''''''''">
              <a:rPr lang="en-GB" altLang="en-US" sz="1400" smtClean="0">
                <a:effectLst/>
              </a:rPr>
              <a:pPr/>
              <a:t>963</a:t>
            </a:fld>
            <a:endParaRPr lang="en-GB" sz="1400" dirty="0">
              <a:sym typeface="+mn-lt"/>
            </a:endParaRP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AF7AC4C4-ABC9-41EB-A5B8-4B194DD6B82D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5211763" y="5272088"/>
            <a:ext cx="27622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9BE29EB7-45F5-4C94-BA69-BB592F9AB674}" type="datetime'''''''''S''''''''''''''''''''''''''''''''''''ep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Sep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A8BF74A2-C401-49B2-A884-8DBD61953683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091238" y="5272088"/>
            <a:ext cx="26511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5CC1375A-F86D-446F-B7CE-B771FB205842}" type="datetime'''''''''''''''''''''O''''''''''''''c''''''t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Oct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51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934200" y="2905125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F54574A-D7E9-486C-B1EF-46504F43E35D}" type="datetime'''''''''''''''''''''7''''''''''''''''''''''''''7''''7'''">
              <a:rPr lang="en-GB" altLang="en-US" sz="1400" smtClean="0"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7</a:t>
            </a:fld>
            <a:endParaRPr lang="en-GB" sz="1400" dirty="0">
              <a:sym typeface="+mn-lt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715586C-C3AD-48FE-B59B-94B8B18890F4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943725" y="5272088"/>
            <a:ext cx="30162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9115E27-8626-4463-85E0-9F182F69FB6F}" type="datetime'N''''''''''''''''''''''''''''''''o''''''''v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Nov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54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7737475" y="2616200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7CCAC8D-BBFC-4788-B36A-A3E30B46357B}" type="datetime'''''''''''''1'''''',''''''''''0''0''''''''''3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003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DA5F07FB-1ABA-43F5-811E-9F3EA435A3A0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823200" y="5272088"/>
            <a:ext cx="28575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7055993-9261-46B4-8C58-D5F44D9B0413}" type="datetime'D''''''''''''''''''''''''''''e''''''''''''''''''''''''''''''c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Dec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58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8609013" y="2260600"/>
            <a:ext cx="457200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5DDACBF-DA26-458E-91A0-5FCDB6F5FA50}" type="datetime'''1,''''''''''0''''2''0'''''''''''">
              <a:rPr lang="en-GB" altLang="en-US" sz="1400" smtClean="0"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020</a:t>
            </a:fld>
            <a:endParaRPr lang="en-GB" sz="1400" dirty="0">
              <a:sym typeface="+mn-lt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95FD307A-9FA0-4505-AB3C-41DB3DD08DBE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8713787" y="5272088"/>
            <a:ext cx="24923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42938080-05C6-493E-A625-3764F09533FB}" type="datetime'''J''''''''''a''n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an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CD00C85-1BD5-4435-A190-4FB4701D0175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9574213" y="5272088"/>
            <a:ext cx="27305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BDA6F19-596A-44A0-BA04-D6776285E01E}" type="datetime'''''''''''''F''''''''''''''''''''''''''eb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Feb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D6EFDA10-9357-4F77-81CA-51C3BE586561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0426700" y="5272088"/>
            <a:ext cx="31273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C7C704F-FDEC-45AC-ADFE-58795018162D}" type="datetime'''''''''''''''''''Ma''''r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Mar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11E16AD-AB8F-4718-B6E3-604938519AFC}"/>
              </a:ext>
            </a:extLst>
          </p:cNvPr>
          <p:cNvCxnSpPr/>
          <p:nvPr>
            <p:custDataLst>
              <p:tags r:id="rId41"/>
            </p:custDataLst>
          </p:nvPr>
        </p:nvCxnSpPr>
        <p:spPr bwMode="gray">
          <a:xfrm>
            <a:off x="11010901" y="4311650"/>
            <a:ext cx="257175" cy="0"/>
          </a:xfrm>
          <a:prstGeom prst="line">
            <a:avLst/>
          </a:prstGeom>
          <a:ln w="28575" cap="rnd" cmpd="sng" algn="ctr">
            <a:solidFill>
              <a:srgbClr val="A4264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28509CC-1AAC-49B5-8349-A98D6740BD29}"/>
              </a:ext>
            </a:extLst>
          </p:cNvPr>
          <p:cNvCxnSpPr/>
          <p:nvPr>
            <p:custDataLst>
              <p:tags r:id="rId42"/>
            </p:custDataLst>
          </p:nvPr>
        </p:nvCxnSpPr>
        <p:spPr bwMode="gray">
          <a:xfrm>
            <a:off x="11010901" y="4594225"/>
            <a:ext cx="257175" cy="0"/>
          </a:xfrm>
          <a:prstGeom prst="line">
            <a:avLst/>
          </a:prstGeom>
          <a:ln w="28575" cap="rnd" cmpd="sng" algn="ctr">
            <a:solidFill>
              <a:srgbClr val="1E5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1333163" y="4217988"/>
            <a:ext cx="444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0DB25060-B0F4-4ACB-A235-00B01CD7C264}" type="datetime'''''FY'''''' ''''''''''''''''''2''''''''''4'''''''''''''">
              <a:rPr lang="en-US" altLang="en-US" sz="1600" smtClean="0">
                <a:solidFill>
                  <a:srgbClr val="000000"/>
                </a:solidFill>
              </a:rPr>
              <a:pPr/>
              <a:t>FY 24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48CC1E73-9CF2-41BB-A0AE-DBDB552C4D77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1333163" y="4500563"/>
            <a:ext cx="444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F849D355-83F0-42CC-9CE6-D9AC071033F0}" type="datetime'F''''''''''''''''''''''''''Y'''''''''''''''''' ''23'">
              <a:rPr lang="en-US" altLang="en-US" sz="1600" smtClean="0">
                <a:solidFill>
                  <a:srgbClr val="000000"/>
                </a:solidFill>
              </a:rPr>
              <a:pPr/>
              <a:t>FY 23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15BDD44-E354-40B4-868D-D4C948D2A74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7EFD475-9FFB-4CA2-B03B-4A6211A11EED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50">
            <p14:nvContentPartPr>
              <p14:cNvPr id="24" name="Ink 23">
                <a:extLst>
                  <a:ext uri="{FF2B5EF4-FFF2-40B4-BE49-F238E27FC236}">
                    <a16:creationId xmlns:a16="http://schemas.microsoft.com/office/drawing/2014/main" id="{38F85CCD-8EE0-4864-A027-2A255A0DFED8}"/>
                  </a:ext>
                </a:extLst>
              </p14:cNvPr>
              <p14:cNvContentPartPr/>
              <p14:nvPr/>
            </p14:nvContentPartPr>
            <p14:xfrm>
              <a:off x="990045" y="4171800"/>
              <a:ext cx="360" cy="360"/>
            </p14:xfrm>
          </p:contentPart>
        </mc:Choice>
        <mc:Fallback xmlns="">
          <p:pic>
            <p:nvPicPr>
              <p:cNvPr id="24" name="Ink 23">
                <a:extLst>
                  <a:ext uri="{FF2B5EF4-FFF2-40B4-BE49-F238E27FC236}">
                    <a16:creationId xmlns:a16="http://schemas.microsoft.com/office/drawing/2014/main" id="{38F85CCD-8EE0-4864-A027-2A255A0DFED8}"/>
                  </a:ext>
                </a:extLst>
              </p:cNvPr>
              <p:cNvPicPr/>
              <p:nvPr/>
            </p:nvPicPr>
            <p:blipFill>
              <a:blip r:embed="rId52"/>
              <a:stretch>
                <a:fillRect/>
              </a:stretch>
            </p:blipFill>
            <p:spPr>
              <a:xfrm>
                <a:off x="985725" y="4167480"/>
                <a:ext cx="9000" cy="9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3">
            <p14:nvContentPartPr>
              <p14:cNvPr id="25" name="Ink 24">
                <a:extLst>
                  <a:ext uri="{FF2B5EF4-FFF2-40B4-BE49-F238E27FC236}">
                    <a16:creationId xmlns:a16="http://schemas.microsoft.com/office/drawing/2014/main" id="{56162691-EF1B-4F01-89EC-25EBA7B4E81D}"/>
                  </a:ext>
                </a:extLst>
              </p14:cNvPr>
              <p14:cNvContentPartPr/>
              <p14:nvPr/>
            </p14:nvContentPartPr>
            <p14:xfrm>
              <a:off x="1952325" y="6743280"/>
              <a:ext cx="360" cy="360"/>
            </p14:xfrm>
          </p:contentPart>
        </mc:Choice>
        <mc:Fallback xmlns="">
          <p:pic>
            <p:nvPicPr>
              <p:cNvPr id="25" name="Ink 24">
                <a:extLst>
                  <a:ext uri="{FF2B5EF4-FFF2-40B4-BE49-F238E27FC236}">
                    <a16:creationId xmlns:a16="http://schemas.microsoft.com/office/drawing/2014/main" id="{56162691-EF1B-4F01-89EC-25EBA7B4E81D}"/>
                  </a:ext>
                </a:extLst>
              </p:cNvPr>
              <p:cNvPicPr/>
              <p:nvPr/>
            </p:nvPicPr>
            <p:blipFill>
              <a:blip r:embed="rId52"/>
              <a:stretch>
                <a:fillRect/>
              </a:stretch>
            </p:blipFill>
            <p:spPr>
              <a:xfrm>
                <a:off x="1948005" y="6738960"/>
                <a:ext cx="9000" cy="9000"/>
              </a:xfrm>
              <a:prstGeom prst="rect">
                <a:avLst/>
              </a:prstGeom>
            </p:spPr>
          </p:pic>
        </mc:Fallback>
      </mc:AlternateContent>
      <p:sp>
        <p:nvSpPr>
          <p:cNvPr id="93" name="ee4pFootnotes">
            <a:extLst>
              <a:ext uri="{FF2B5EF4-FFF2-40B4-BE49-F238E27FC236}">
                <a16:creationId xmlns:a16="http://schemas.microsoft.com/office/drawing/2014/main" id="{79281519-44CA-4CEC-9E72-C91882CCB0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325" y="6516185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sym typeface="Trebuchet MS" panose="020B0603020202020204" pitchFamily="34" charset="0"/>
              </a:rPr>
              <a:t>Source: ICEMA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0B83B31-BF68-4327-8604-B806B423A8EE}"/>
              </a:ext>
            </a:extLst>
          </p:cNvPr>
          <p:cNvSpPr txBox="1"/>
          <p:nvPr/>
        </p:nvSpPr>
        <p:spPr>
          <a:xfrm>
            <a:off x="908049" y="1311840"/>
            <a:ext cx="904968" cy="1682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sym typeface="Trebuchet MS" panose="020B0603020202020204" pitchFamily="34" charset="0"/>
              </a:rPr>
              <a:t>Units sold</a:t>
            </a:r>
          </a:p>
        </p:txBody>
      </p:sp>
    </p:spTree>
    <p:extLst>
      <p:ext uri="{BB962C8B-B14F-4D97-AF65-F5344CB8AC3E}">
        <p14:creationId xmlns:p14="http://schemas.microsoft.com/office/powerpoint/2010/main" val="2961798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8920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286" imgH="286" progId="TCLayout.ActiveDocument.1">
                  <p:embed/>
                </p:oleObj>
              </mc:Choice>
              <mc:Fallback>
                <p:oleObj name="think-cell Slide" r:id="rId38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2" name="Rectangle 27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813" y="226966"/>
            <a:ext cx="10933350" cy="332399"/>
          </a:xfrm>
        </p:spPr>
        <p:txBody>
          <a:bodyPr vert="horz"/>
          <a:lstStyle/>
          <a:p>
            <a:r>
              <a:rPr lang="en-US" b="1" dirty="0">
                <a:solidFill>
                  <a:schemeClr val="bg1"/>
                </a:solidFill>
              </a:rPr>
              <a:t>Concrete Equipment: </a:t>
            </a:r>
            <a:r>
              <a:rPr lang="en-US" dirty="0">
                <a:solidFill>
                  <a:schemeClr val="bg1"/>
                </a:solidFill>
              </a:rPr>
              <a:t>Historical Trend of Export Sales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5DB97F14-485A-33AD-ABB0-267F0946416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83818983"/>
              </p:ext>
            </p:extLst>
          </p:nvPr>
        </p:nvGraphicFramePr>
        <p:xfrm>
          <a:off x="930275" y="1466850"/>
          <a:ext cx="9766300" cy="3914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2A8121E-FC81-40D3-B058-45E234325F6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804863" y="5176838"/>
            <a:ext cx="904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575757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75757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fld id="{83BEFE7A-5AB2-49EA-AC12-821194336620}" type="datetime'''0'''''''''''''''''''''''''''''">
              <a:rPr lang="en-US" altLang="en-US" sz="1400" u="none" strike="noStrike" normalizeH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75757"/>
                </a:buClr>
                <a:buSzTx/>
                <a:buFont typeface="Arial" panose="020B0604020202020204" pitchFamily="34" charset="0"/>
                <a:buChar char="​"/>
                <a:tabLst/>
                <a:defRPr/>
              </a:pPr>
              <a:t>0</a:t>
            </a:fld>
            <a:endParaRPr lang="en-US" sz="1400" u="none" strike="noStrike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804863" y="4795838"/>
            <a:ext cx="90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A63A41C-29F5-4DC9-894C-46A142AA10DE}" type="datetime'''''''''''''''''''''''''''''''''''5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14375" y="4384675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3BF6269-E795-4E89-88CE-E7234329465E}" type="datetime'''''''''1''''''''''''''''''''''''''''''''''''''''''0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14375" y="3971925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9D923BD-D710-4875-BADA-D6D514EBB3FD}" type="datetime'''''''''''''''''''''''''''''1''''''''''''5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14375" y="3560763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F095651-6FDC-48EE-AAE6-85F944528785}" type="datetime'''''''''''''''2''''0''''''''''''''''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14375" y="3148013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C597E69-6614-4AF7-BACC-7175D9105673}" type="datetime'''''''''''''''''''''2''''''5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14375" y="2736850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99ACE1E-0FA2-4EFB-98A7-53D3D23A68FB}" type="datetime'''''''''''''''''3''''''''''0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14375" y="2324100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1E04F03-F3FF-4C09-B708-73BE261BB005}" type="datetime'''''''''''''''''''''''3''''5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14375" y="1912938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2F5C120-D91C-4096-A66A-FE6F43DBBAD9}" type="datetime'4''''''''''''''''''''0''''''''''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714375" y="1500188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976AC36-338F-4F66-9566-18D5E1EF766E}" type="datetime'''''''''''''''''''''''''''''''''''''4''''''''''''''''''''5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5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14375" y="1165225"/>
            <a:ext cx="8810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Export Sales</a:t>
            </a:r>
          </a:p>
        </p:txBody>
      </p:sp>
      <p:sp useBgFill="1">
        <p:nvSpPr>
          <p:cNvPr id="5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073150" y="3060700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5A0748B-9B7B-42CF-9F97-FA43B2D1573D}" type="datetime'''''''''''''''''''''''''''''''''''''2''''''''6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CF2356D-F2B1-4977-80A4-698019BAEAC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77888" y="5357813"/>
            <a:ext cx="27146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A63BF62-6532-4B7C-8CCD-AC040EB7E9BE}" type="datetime'''''A''''''''''''''''''p''''''''''''''r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Apr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556C819-F711-419D-883C-5897179D443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720850" y="5357813"/>
            <a:ext cx="32861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F622ABD-F475-40CE-AF9F-025DA77BD86D}" type="datetime'''''''''''''M''''''''''''''a''''''''''y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May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9B83915-2A28-47D6-875C-D959919D619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628900" y="5357813"/>
            <a:ext cx="25717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A41F055-6D1D-4A0D-A61B-B53D95E6EB84}" type="datetime'''J''''''''''''''''''''''u''''''''''''''''''''''''''''''n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un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5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13138" y="3803650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DA7FFD-6C6C-43BA-821C-FD56195A6CFC}" type="datetime'''''''''''''''''''''''''''''''1''7'''''''''''''''''''">
              <a:rPr lang="en-GB" altLang="en-US" sz="1400" smtClean="0">
                <a:effectLst/>
              </a:rPr>
              <a:pPr/>
              <a:t>17</a:t>
            </a:fld>
            <a:endParaRPr lang="en-GB" sz="1400" dirty="0">
              <a:sym typeface="+mn-lt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4B686C9-989B-42F2-AD3C-499033883D5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527425" y="5357813"/>
            <a:ext cx="2047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E5D630C-30CE-40EC-B362-F93E831A5568}" type="datetime'''''J''''''''''''''u''''''''''''''''''''''''''''''''''''''''l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u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6F233A3-BFA9-441D-B9D2-B9B5A7531AE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354513" y="5357813"/>
            <a:ext cx="2936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B6883F65-7E84-400D-946E-D0FE5E5B06A0}" type="datetime'''''''''''''A''''''''''''u''''''''''''''''''''''g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Aug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22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302250" y="4554538"/>
            <a:ext cx="14128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C1596D3-6B94-47FD-95EA-843F7390C450}" type="datetime'''''''''''''''''''''''''''''''''''''''''''''6'''''''''''''''''">
              <a:rPr lang="en-GB" altLang="en-US" sz="1400" smtClean="0"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GB" sz="1400" dirty="0">
              <a:sym typeface="+mn-lt"/>
            </a:endParaRP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AF7AC4C4-ABC9-41EB-A5B8-4B194DD6B82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233988" y="5357813"/>
            <a:ext cx="27622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9BE29EB7-45F5-4C94-BA69-BB592F9AB674}" type="datetime'''''''''S''''''''''''''''''''''''''''''''''''ep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Sep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A8BF74A2-C401-49B2-A884-8DBD6195368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113463" y="5357813"/>
            <a:ext cx="26511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5CC1375A-F86D-446F-B7CE-B771FB205842}" type="datetime'''''''''''''''''''''O''''''''''''''c''''''t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Oct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23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7000875" y="4141788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4D6BB57-E86A-402B-9098-61F7F1F42BC4}" type="datetime'1''''''''''''''''''''''''''''1'''''''''''''''''''''''">
              <a:rPr lang="en-GB" altLang="en-US" sz="1400" smtClean="0"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en-GB" sz="1400" dirty="0">
              <a:sym typeface="+mn-lt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715586C-C3AD-48FE-B59B-94B8B18890F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965950" y="5357813"/>
            <a:ext cx="30162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9115E27-8626-4463-85E0-9F182F69FB6F}" type="datetime'N''''''''''''''''''''''''''''''''o''''''''v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Nov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DA5F07FB-1ABA-43F5-811E-9F3EA435A3A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845425" y="5357813"/>
            <a:ext cx="28575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7055993-9261-46B4-8C58-D5F44D9B0413}" type="datetime'D''''''''''''''''''''''''''''e''''''''''''''''''''''''''''''c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Dec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95FD307A-9FA0-4505-AB3C-41DB3DD08DB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8736013" y="5357813"/>
            <a:ext cx="24923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42938080-05C6-493E-A625-3764F09533FB}" type="datetime'''J''''''''''a''n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an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CD00C85-1BD5-4435-A190-4FB4701D017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596438" y="5357813"/>
            <a:ext cx="27305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BDA6F19-596A-44A0-BA04-D6776285E01E}" type="datetime'''''''''''''F''''''''''''''''''''''''''eb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Feb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D6EFDA10-9357-4F77-81CA-51C3BE586561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0448925" y="5357813"/>
            <a:ext cx="31273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C7C704F-FDEC-45AC-ADFE-58795018162D}" type="datetime'''''''''''''''''''Ma''''r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Mar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8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944688" y="3721100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C3B6D2F-C079-45AC-88B2-56B5BD11AFB5}" type="datetime'''''''''''''''''''''1''''''''''''''8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11E16AD-AB8F-4718-B6E3-604938519AFC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>
            <a:off x="11010901" y="4311650"/>
            <a:ext cx="257175" cy="0"/>
          </a:xfrm>
          <a:prstGeom prst="line">
            <a:avLst/>
          </a:prstGeom>
          <a:ln w="28575" cap="rnd" cmpd="sng" algn="ctr">
            <a:solidFill>
              <a:srgbClr val="A4264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28509CC-1AAC-49B5-8349-A98D6740BD29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11010901" y="4594225"/>
            <a:ext cx="257175" cy="0"/>
          </a:xfrm>
          <a:prstGeom prst="line">
            <a:avLst/>
          </a:prstGeom>
          <a:ln w="28575" cap="rnd" cmpd="sng" algn="ctr">
            <a:solidFill>
              <a:srgbClr val="1E5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1333163" y="4217988"/>
            <a:ext cx="444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2705C7AA-9A44-42A7-B9EA-0794647C45BF}" type="datetime'''''''''''''''''''''''''F''''''Y 2''''4'''">
              <a:rPr lang="en-US" altLang="en-US" sz="1600" smtClean="0">
                <a:solidFill>
                  <a:srgbClr val="000000"/>
                </a:solidFill>
              </a:rPr>
              <a:pPr/>
              <a:t>FY 24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48CC1E73-9CF2-41BB-A0AE-DBDB552C4D7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1333163" y="4500563"/>
            <a:ext cx="444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B07C7933-D459-4E71-A254-FC14D40ACE17}" type="datetime'''''''''''''FY 23'''''''''''''''''''''">
              <a:rPr lang="en-US" altLang="en-US" sz="1600" smtClean="0">
                <a:solidFill>
                  <a:srgbClr val="000000"/>
                </a:solidFill>
              </a:rPr>
              <a:pPr/>
              <a:t>FY 23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15BDD44-E354-40B4-868D-D4C948D2A74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7EFD475-9FFB-4CA2-B03B-4A6211A11EED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1">
            <p14:nvContentPartPr>
              <p14:cNvPr id="24" name="Ink 23">
                <a:extLst>
                  <a:ext uri="{FF2B5EF4-FFF2-40B4-BE49-F238E27FC236}">
                    <a16:creationId xmlns:a16="http://schemas.microsoft.com/office/drawing/2014/main" id="{38F85CCD-8EE0-4864-A027-2A255A0DFED8}"/>
                  </a:ext>
                </a:extLst>
              </p14:cNvPr>
              <p14:cNvContentPartPr/>
              <p14:nvPr/>
            </p14:nvContentPartPr>
            <p14:xfrm>
              <a:off x="990045" y="4171800"/>
              <a:ext cx="360" cy="360"/>
            </p14:xfrm>
          </p:contentPart>
        </mc:Choice>
        <mc:Fallback xmlns="">
          <p:pic>
            <p:nvPicPr>
              <p:cNvPr id="24" name="Ink 23">
                <a:extLst>
                  <a:ext uri="{FF2B5EF4-FFF2-40B4-BE49-F238E27FC236}">
                    <a16:creationId xmlns:a16="http://schemas.microsoft.com/office/drawing/2014/main" id="{38F85CCD-8EE0-4864-A027-2A255A0DFED8}"/>
                  </a:ext>
                </a:extLst>
              </p:cNvPr>
              <p:cNvPicPr/>
              <p:nvPr/>
            </p:nvPicPr>
            <p:blipFill>
              <a:blip r:embed="rId42"/>
              <a:stretch>
                <a:fillRect/>
              </a:stretch>
            </p:blipFill>
            <p:spPr>
              <a:xfrm>
                <a:off x="985725" y="4167480"/>
                <a:ext cx="9000" cy="9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3">
            <p14:nvContentPartPr>
              <p14:cNvPr id="25" name="Ink 24">
                <a:extLst>
                  <a:ext uri="{FF2B5EF4-FFF2-40B4-BE49-F238E27FC236}">
                    <a16:creationId xmlns:a16="http://schemas.microsoft.com/office/drawing/2014/main" id="{56162691-EF1B-4F01-89EC-25EBA7B4E81D}"/>
                  </a:ext>
                </a:extLst>
              </p14:cNvPr>
              <p14:cNvContentPartPr/>
              <p14:nvPr/>
            </p14:nvContentPartPr>
            <p14:xfrm>
              <a:off x="1952325" y="6743280"/>
              <a:ext cx="360" cy="360"/>
            </p14:xfrm>
          </p:contentPart>
        </mc:Choice>
        <mc:Fallback xmlns="">
          <p:pic>
            <p:nvPicPr>
              <p:cNvPr id="25" name="Ink 24">
                <a:extLst>
                  <a:ext uri="{FF2B5EF4-FFF2-40B4-BE49-F238E27FC236}">
                    <a16:creationId xmlns:a16="http://schemas.microsoft.com/office/drawing/2014/main" id="{56162691-EF1B-4F01-89EC-25EBA7B4E81D}"/>
                  </a:ext>
                </a:extLst>
              </p:cNvPr>
              <p:cNvPicPr/>
              <p:nvPr/>
            </p:nvPicPr>
            <p:blipFill>
              <a:blip r:embed="rId42"/>
              <a:stretch>
                <a:fillRect/>
              </a:stretch>
            </p:blipFill>
            <p:spPr>
              <a:xfrm>
                <a:off x="1948005" y="6738960"/>
                <a:ext cx="9000" cy="9000"/>
              </a:xfrm>
              <a:prstGeom prst="rect">
                <a:avLst/>
              </a:prstGeom>
            </p:spPr>
          </p:pic>
        </mc:Fallback>
      </mc:AlternateContent>
      <p:sp>
        <p:nvSpPr>
          <p:cNvPr id="93" name="ee4pFootnotes">
            <a:extLst>
              <a:ext uri="{FF2B5EF4-FFF2-40B4-BE49-F238E27FC236}">
                <a16:creationId xmlns:a16="http://schemas.microsoft.com/office/drawing/2014/main" id="{79281519-44CA-4CEC-9E72-C91882CCB0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325" y="6516185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sym typeface="Trebuchet MS" panose="020B0603020202020204" pitchFamily="34" charset="0"/>
              </a:rPr>
              <a:t>Source: ICEMA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1952006-A608-448C-B1BB-9C16A1F2994B}"/>
              </a:ext>
            </a:extLst>
          </p:cNvPr>
          <p:cNvSpPr txBox="1"/>
          <p:nvPr/>
        </p:nvSpPr>
        <p:spPr>
          <a:xfrm>
            <a:off x="1069975" y="1504951"/>
            <a:ext cx="904968" cy="1682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sym typeface="Trebuchet MS" panose="020B0603020202020204" pitchFamily="34" charset="0"/>
              </a:rPr>
              <a:t>Units sold</a:t>
            </a:r>
          </a:p>
        </p:txBody>
      </p:sp>
    </p:spTree>
    <p:extLst>
      <p:ext uri="{BB962C8B-B14F-4D97-AF65-F5344CB8AC3E}">
        <p14:creationId xmlns:p14="http://schemas.microsoft.com/office/powerpoint/2010/main" val="686186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2216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286" imgH="286" progId="TCLayout.ActiveDocument.1">
                  <p:embed/>
                </p:oleObj>
              </mc:Choice>
              <mc:Fallback>
                <p:oleObj name="think-cell Slide" r:id="rId40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2" name="Rectangle 27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813" y="226966"/>
            <a:ext cx="10933350" cy="332399"/>
          </a:xfrm>
        </p:spPr>
        <p:txBody>
          <a:bodyPr vert="horz"/>
          <a:lstStyle/>
          <a:p>
            <a:r>
              <a:rPr lang="en-US" b="1" dirty="0">
                <a:solidFill>
                  <a:schemeClr val="bg1"/>
                </a:solidFill>
              </a:rPr>
              <a:t>Road Construction Equipment: </a:t>
            </a:r>
            <a:r>
              <a:rPr lang="en-US" dirty="0">
                <a:solidFill>
                  <a:schemeClr val="bg1"/>
                </a:solidFill>
              </a:rPr>
              <a:t>Historical Trend of Domestic Sales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B5ABFB95-8157-F5C1-39B9-D5634679867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13987672"/>
              </p:ext>
            </p:extLst>
          </p:nvPr>
        </p:nvGraphicFramePr>
        <p:xfrm>
          <a:off x="908050" y="1519238"/>
          <a:ext cx="9756775" cy="3873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2A8121E-FC81-40D3-B058-45E234325F6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82638" y="5187950"/>
            <a:ext cx="904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575757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75757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fld id="{83BEFE7A-5AB2-49EA-AC12-821194336620}" type="datetime'''0'''''''''''''''''''''''''''''">
              <a:rPr lang="en-US" altLang="en-US" sz="1400" u="none" strike="noStrike" normalizeH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75757"/>
                </a:buClr>
                <a:buSzTx/>
                <a:buFont typeface="Arial" panose="020B0604020202020204" pitchFamily="34" charset="0"/>
                <a:buChar char="​"/>
                <a:tabLst/>
                <a:defRPr/>
              </a:pPr>
              <a:t>0</a:t>
            </a:fld>
            <a:endParaRPr lang="en-US" sz="1400" u="none" strike="noStrike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92150" y="4910138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8EAC08C-0B6B-46DE-9546-69077A4610CA}" type="datetime'5''''''''''''''''''''''''''''''''''0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01663" y="4602163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05B185C-ED94-4AA5-8B6F-F2D13D6F5596}" type="datetime'''''''''1''0''''''''''0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01663" y="4292600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F99BCBE-9AC4-4407-A63F-459A1D726C82}" type="datetime'''''''''1''''''''''''''''''''5''''''''''''''''0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01663" y="3983038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3768C96-FDCA-447B-BF9E-B2BDF3431BB7}" type="datetime'''''''''''''''''''''''''''''''''''''2''0''0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01663" y="3675063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E2E7373-5C9E-47A9-85C6-F3F2D0D74D56}" type="datetime'''25''0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01663" y="3365500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7935B1B-4981-4754-BEBE-D8A7338296BA}" type="datetime'''''3''''0''''''''''''''''''''''''''''''''''0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01663" y="3055938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CABECEE-D060-4DD5-AC19-5C24AC65B30F}" type="datetime'''''''''''''''''''''3''''''''''5''0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01663" y="2747963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65486DD-0F00-425C-81C9-AD44A3DCFAB3}" type="datetime'''''''''''''''''''''''''''4''''''''''''''00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01663" y="2438400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F76DA85-3FD8-40D1-8917-6F5AD9641027}" type="datetime'''''45''''''''''''''''''''0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5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01663" y="2128838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09BF79F-9DF6-40AF-BD53-69F6A9BFBA9D}" type="datetime'''''''''''''''''''5''''0''''''''''''''''0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01663" y="1820863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27B0368-1AED-40EA-9430-CB659417EB3B}" type="datetime'''''''''55''''''''''''''''''''0''''''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5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01663" y="1511300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947433C-1B42-43AC-8A89-E9014DEBFBDC}" type="datetime'''''''''''''''''''''''''''''''60''''''''''''''''0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01663" y="1176338"/>
            <a:ext cx="10842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Domestic Sale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CF2356D-F2B1-4977-80A4-698019BAEAC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55663" y="5368925"/>
            <a:ext cx="27146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A63BF62-6532-4B7C-8CCD-AC040EB7E9BE}" type="datetime'''''A''''''''''''''''''p''''''''''''''r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Apr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46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701800" y="3565525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F1F8933-9BB9-4770-973C-7DC565908F2F}" type="datetime'''''''''''''''''''2''''''''9''''''''''''2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2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556C819-F711-419D-883C-5897179D443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698625" y="5368925"/>
            <a:ext cx="32861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F622ABD-F475-40CE-AF9F-025DA77BD86D}" type="datetime'''''''''''''M''''''''''''''a''''''''''y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May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9B83915-2A28-47D6-875C-D959919D619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606675" y="5368925"/>
            <a:ext cx="25717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A41F055-6D1D-4A0D-A61B-B53D95E6EB84}" type="datetime'''J''''''''''''''''''''''u''''''''''''''''''''''''''''''n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un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4B686C9-989B-42F2-AD3C-499033883D5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505199" y="5368925"/>
            <a:ext cx="2047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E5D630C-30CE-40EC-B362-F93E831A5568}" type="datetime'''''J''''''''''''''u''''''''''''''''''''''''''''''''''''''''l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u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6F233A3-BFA9-441D-B9D2-B9B5A7531AE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332287" y="5368925"/>
            <a:ext cx="2936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B6883F65-7E84-400D-946E-D0FE5E5B06A0}" type="datetime'''''''''''''A''''''''''''u''''''''''''''''''''''g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Aug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AF7AC4C4-ABC9-41EB-A5B8-4B194DD6B82D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211763" y="5368925"/>
            <a:ext cx="27622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9BE29EB7-45F5-4C94-BA69-BB592F9AB674}" type="datetime'''''''''S''''''''''''''''''''''''''''''''''''ep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Sep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A8BF74A2-C401-49B2-A884-8DBD6195368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091238" y="5368925"/>
            <a:ext cx="26511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5CC1375A-F86D-446F-B7CE-B771FB205842}" type="datetime'''''''''''''''''''''O''''''''''''''c''''''t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Oct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4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934200" y="2481263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FC12BC-A7EF-4B41-9B2A-BFDFFAB4EFEE}" type="datetime'''''4''''''''''''''''''1''''''''7'">
              <a:rPr lang="en-GB" altLang="en-US" sz="1400" smtClean="0">
                <a:effectLst/>
              </a:rPr>
              <a:pPr/>
              <a:t>417</a:t>
            </a:fld>
            <a:endParaRPr lang="en-GB" sz="1400" dirty="0">
              <a:sym typeface="+mn-lt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715586C-C3AD-48FE-B59B-94B8B18890F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943725" y="5368925"/>
            <a:ext cx="30162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9115E27-8626-4463-85E0-9F182F69FB6F}" type="datetime'N''''''''''''''''''''''''''''''''o''''''''v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Nov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17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805738" y="2068513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12E8E9-25B8-4C99-A713-0EA12F2D3521}" type="datetime'''''''''''''5''''''''''''''0''''''9'''">
              <a:rPr lang="en-GB" altLang="en-US" sz="1400" smtClean="0">
                <a:solidFill>
                  <a:srgbClr val="000000"/>
                </a:solidFill>
                <a:effectLst/>
              </a:rPr>
              <a:pPr/>
              <a:t>509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DA5F07FB-1ABA-43F5-811E-9F3EA435A3A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823200" y="5368925"/>
            <a:ext cx="28575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7055993-9261-46B4-8C58-D5F44D9B0413}" type="datetime'D''''''''''''''''''''''''''''e''''''''''''''''''''''''''''''c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Dec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95FD307A-9FA0-4505-AB3C-41DB3DD08DB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713787" y="5368925"/>
            <a:ext cx="24923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42938080-05C6-493E-A625-3764F09533FB}" type="datetime'''J''''''''''a''n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an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CD00C85-1BD5-4435-A190-4FB4701D017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574213" y="5368925"/>
            <a:ext cx="27305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BDA6F19-596A-44A0-BA04-D6776285E01E}" type="datetime'''''''''''''F''''''''''''''''''''''''''eb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Feb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4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10421938" y="1736725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5C5E5E7-A301-426D-B0C2-BD9EF8DA8007}" type="datetime'''5''''''''''''''''''''''''''''''8''''''8'''''''''''">
              <a:rPr lang="en-GB" altLang="en-US" sz="1400" smtClean="0"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88</a:t>
            </a:fld>
            <a:endParaRPr lang="en-GB" sz="1400" dirty="0">
              <a:sym typeface="+mn-lt"/>
            </a:endParaRP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D6EFDA10-9357-4F77-81CA-51C3BE586561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0426700" y="5368925"/>
            <a:ext cx="31273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C7C704F-FDEC-45AC-ADFE-58795018162D}" type="datetime'''''''''''''''''''Ma''''r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Mar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11E16AD-AB8F-4718-B6E3-604938519AFC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>
            <a:off x="11010901" y="4311650"/>
            <a:ext cx="257175" cy="0"/>
          </a:xfrm>
          <a:prstGeom prst="line">
            <a:avLst/>
          </a:prstGeom>
          <a:ln w="28575" cap="rnd" cmpd="sng" algn="ctr">
            <a:solidFill>
              <a:srgbClr val="A4264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28509CC-1AAC-49B5-8349-A98D6740BD29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">
          <a:xfrm>
            <a:off x="11010901" y="4594225"/>
            <a:ext cx="257175" cy="0"/>
          </a:xfrm>
          <a:prstGeom prst="line">
            <a:avLst/>
          </a:prstGeom>
          <a:ln w="28575" cap="rnd" cmpd="sng" algn="ctr">
            <a:solidFill>
              <a:srgbClr val="1E5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1333163" y="4217988"/>
            <a:ext cx="444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00E2EEB2-312B-4629-BEA7-F1AA18C286F7}" type="datetime'''''''''FY'''' ''''''''''''''''''''''''''2''''''''''''''4'''''">
              <a:rPr lang="en-US" altLang="en-US" sz="1600" smtClean="0">
                <a:solidFill>
                  <a:srgbClr val="000000"/>
                </a:solidFill>
              </a:rPr>
              <a:pPr/>
              <a:t>FY 24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48CC1E73-9CF2-41BB-A0AE-DBDB552C4D7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1333163" y="4500563"/>
            <a:ext cx="444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BB145217-6F7C-4A1B-B567-6F395A2ACDAE}" type="datetime'''''''F''Y ''''''''''''2''''''''''''''''''''''''''''3'''">
              <a:rPr lang="en-US" altLang="en-US" sz="1600" smtClean="0">
                <a:solidFill>
                  <a:srgbClr val="000000"/>
                </a:solidFill>
              </a:rPr>
              <a:pPr/>
              <a:t>FY 23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15BDD44-E354-40B4-868D-D4C948D2A74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7EFD475-9FFB-4CA2-B03B-4A6211A11EED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3">
            <p14:nvContentPartPr>
              <p14:cNvPr id="24" name="Ink 23">
                <a:extLst>
                  <a:ext uri="{FF2B5EF4-FFF2-40B4-BE49-F238E27FC236}">
                    <a16:creationId xmlns:a16="http://schemas.microsoft.com/office/drawing/2014/main" id="{38F85CCD-8EE0-4864-A027-2A255A0DFED8}"/>
                  </a:ext>
                </a:extLst>
              </p14:cNvPr>
              <p14:cNvContentPartPr/>
              <p14:nvPr/>
            </p14:nvContentPartPr>
            <p14:xfrm>
              <a:off x="990045" y="4171800"/>
              <a:ext cx="360" cy="360"/>
            </p14:xfrm>
          </p:contentPart>
        </mc:Choice>
        <mc:Fallback xmlns="">
          <p:pic>
            <p:nvPicPr>
              <p:cNvPr id="24" name="Ink 23">
                <a:extLst>
                  <a:ext uri="{FF2B5EF4-FFF2-40B4-BE49-F238E27FC236}">
                    <a16:creationId xmlns:a16="http://schemas.microsoft.com/office/drawing/2014/main" id="{38F85CCD-8EE0-4864-A027-2A255A0DFED8}"/>
                  </a:ext>
                </a:extLst>
              </p:cNvPr>
              <p:cNvPicPr/>
              <p:nvPr/>
            </p:nvPicPr>
            <p:blipFill>
              <a:blip r:embed="rId44"/>
              <a:stretch>
                <a:fillRect/>
              </a:stretch>
            </p:blipFill>
            <p:spPr>
              <a:xfrm>
                <a:off x="985725" y="4167480"/>
                <a:ext cx="9000" cy="9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5">
            <p14:nvContentPartPr>
              <p14:cNvPr id="25" name="Ink 24">
                <a:extLst>
                  <a:ext uri="{FF2B5EF4-FFF2-40B4-BE49-F238E27FC236}">
                    <a16:creationId xmlns:a16="http://schemas.microsoft.com/office/drawing/2014/main" id="{56162691-EF1B-4F01-89EC-25EBA7B4E81D}"/>
                  </a:ext>
                </a:extLst>
              </p14:cNvPr>
              <p14:cNvContentPartPr/>
              <p14:nvPr/>
            </p14:nvContentPartPr>
            <p14:xfrm>
              <a:off x="1952325" y="6743280"/>
              <a:ext cx="360" cy="360"/>
            </p14:xfrm>
          </p:contentPart>
        </mc:Choice>
        <mc:Fallback xmlns="">
          <p:pic>
            <p:nvPicPr>
              <p:cNvPr id="25" name="Ink 24">
                <a:extLst>
                  <a:ext uri="{FF2B5EF4-FFF2-40B4-BE49-F238E27FC236}">
                    <a16:creationId xmlns:a16="http://schemas.microsoft.com/office/drawing/2014/main" id="{56162691-EF1B-4F01-89EC-25EBA7B4E81D}"/>
                  </a:ext>
                </a:extLst>
              </p:cNvPr>
              <p:cNvPicPr/>
              <p:nvPr/>
            </p:nvPicPr>
            <p:blipFill>
              <a:blip r:embed="rId44"/>
              <a:stretch>
                <a:fillRect/>
              </a:stretch>
            </p:blipFill>
            <p:spPr>
              <a:xfrm>
                <a:off x="1948005" y="6738960"/>
                <a:ext cx="9000" cy="9000"/>
              </a:xfrm>
              <a:prstGeom prst="rect">
                <a:avLst/>
              </a:prstGeom>
            </p:spPr>
          </p:pic>
        </mc:Fallback>
      </mc:AlternateContent>
      <p:sp>
        <p:nvSpPr>
          <p:cNvPr id="122" name="ee4pFootnotes">
            <a:extLst>
              <a:ext uri="{FF2B5EF4-FFF2-40B4-BE49-F238E27FC236}">
                <a16:creationId xmlns:a16="http://schemas.microsoft.com/office/drawing/2014/main" id="{A71ED815-4425-44B9-8F9E-6978373914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325" y="6516185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sym typeface="Trebuchet MS" panose="020B0603020202020204" pitchFamily="34" charset="0"/>
              </a:rPr>
              <a:t>Source: ICEMA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1337AFC-092D-450A-9EE8-829CB991B15C}"/>
              </a:ext>
            </a:extLst>
          </p:cNvPr>
          <p:cNvSpPr txBox="1"/>
          <p:nvPr/>
        </p:nvSpPr>
        <p:spPr>
          <a:xfrm>
            <a:off x="1069975" y="1504951"/>
            <a:ext cx="904968" cy="1682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sym typeface="Trebuchet MS" panose="020B0603020202020204" pitchFamily="34" charset="0"/>
              </a:rPr>
              <a:t>Units sold</a:t>
            </a:r>
          </a:p>
        </p:txBody>
      </p:sp>
    </p:spTree>
    <p:extLst>
      <p:ext uri="{BB962C8B-B14F-4D97-AF65-F5344CB8AC3E}">
        <p14:creationId xmlns:p14="http://schemas.microsoft.com/office/powerpoint/2010/main" val="1572530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3556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286" imgH="286" progId="TCLayout.ActiveDocument.1">
                  <p:embed/>
                </p:oleObj>
              </mc:Choice>
              <mc:Fallback>
                <p:oleObj name="think-cell Slide" r:id="rId39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2" name="Rectangle 27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813" y="226966"/>
            <a:ext cx="10933350" cy="332399"/>
          </a:xfrm>
        </p:spPr>
        <p:txBody>
          <a:bodyPr vert="horz"/>
          <a:lstStyle/>
          <a:p>
            <a:r>
              <a:rPr lang="en-US" b="1" dirty="0">
                <a:solidFill>
                  <a:schemeClr val="bg1"/>
                </a:solidFill>
              </a:rPr>
              <a:t>Road Construction Equipment: </a:t>
            </a:r>
            <a:r>
              <a:rPr lang="en-US" dirty="0">
                <a:solidFill>
                  <a:schemeClr val="bg1"/>
                </a:solidFill>
              </a:rPr>
              <a:t>Historical Trend of Export Sales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9994496F-E57B-773E-5767-5803F7630BD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69540309"/>
              </p:ext>
            </p:extLst>
          </p:nvPr>
        </p:nvGraphicFramePr>
        <p:xfrm>
          <a:off x="908050" y="1403350"/>
          <a:ext cx="9756775" cy="3956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2A8121E-FC81-40D3-B058-45E234325F6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82638" y="5154612"/>
            <a:ext cx="904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575757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75757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fld id="{83BEFE7A-5AB2-49EA-AC12-821194336620}" type="datetime'''0'''''''''''''''''''''''''''''">
              <a:rPr lang="en-US" altLang="en-US" sz="1400" u="none" strike="noStrike" normalizeH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75757"/>
                </a:buClr>
                <a:buSzTx/>
                <a:buFont typeface="Arial" panose="020B0604020202020204" pitchFamily="34" charset="0"/>
                <a:buChar char="​"/>
                <a:tabLst/>
                <a:defRPr/>
              </a:pPr>
              <a:t>0</a:t>
            </a:fld>
            <a:endParaRPr lang="en-US" sz="1400" u="none" strike="noStrike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92150" y="4773613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7AF5E4E-5904-47B7-A743-AE1FE90963D4}" type="datetime'''''''''''''''''''''''''''''''''''10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92150" y="4362450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67CA13C-8025-4BBA-918F-6A7325122236}" type="datetime'''''''''''2''''''''0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92150" y="3949700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9037964-0C85-45A1-97BB-F415CF2E5D6D}" type="datetime'''''''''''''''''''''''''''''3''''''''''''''''''''0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92150" y="3538538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7B8A8A4-604A-48C1-A492-6E83C0DE02AF}" type="datetime'''''''''''4''''''''''''''''''''0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92150" y="3125788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D3F6360-0B73-40C8-A019-A787877D753E}" type="datetime'''''''''''''''''''''''''''''5''''''''''0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92150" y="2714625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5E86DBE-8A3A-4B07-9291-79F2437E1C97}" type="datetime'''''''''''''''''6''''''''''''''''''''''''''''0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92150" y="2301875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E4781BE-73C4-4602-A20F-34E466F48959}" type="datetime'''''7''''''''''''''0''''''''''''''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92150" y="1890713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565E6F9-7591-44DC-9915-CD09773241C2}" type="datetime'''8''''''''''''0''''''''''''''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92150" y="1477963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FD592BF-BAFF-452C-B0D7-A4D997389CF2}" type="datetime'''''''''''''9''''''''''''''0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92150" y="1143000"/>
            <a:ext cx="8810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Export Sales</a:t>
            </a:r>
          </a:p>
        </p:txBody>
      </p:sp>
      <p:sp useBgFill="1">
        <p:nvSpPr>
          <p:cNvPr id="4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035050" y="3665538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0A6F23-E39C-4A54-AA4F-ACFD801AB906}" type="datetime'''3''''''''''3'''''">
              <a:rPr lang="en-GB" altLang="en-US" sz="1400" smtClean="0">
                <a:solidFill>
                  <a:srgbClr val="000000"/>
                </a:solidFill>
                <a:effectLst/>
              </a:rPr>
              <a:pPr/>
              <a:t>33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CF2356D-F2B1-4977-80A4-698019BAEAC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55663" y="5335588"/>
            <a:ext cx="27146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A63BF62-6532-4B7C-8CCD-AC040EB7E9BE}" type="datetime'''''A''''''''''''''''''p''''''''''''''r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Apr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5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746250" y="3954463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F4FC713-BF6D-4939-8501-C64B06B62178}" type="datetime'''''''''''''''''''''''''''2''''6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 useBgFill="1">
        <p:nvSpPr>
          <p:cNvPr id="13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746250" y="2659063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6C3C958-C373-4D9A-AF30-6C230BEC840B}" type="datetime'''''6''''''5''''''''''''''''''''''''''''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5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556C819-F711-419D-883C-5897179D443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698625" y="5335588"/>
            <a:ext cx="32861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F622ABD-F475-40CE-AF9F-025DA77BD86D}" type="datetime'''''''''''''M''''''''''''''a''''''''''y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May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9B83915-2A28-47D6-875C-D959919D619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606675" y="5335588"/>
            <a:ext cx="25717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A41F055-6D1D-4A0D-A61B-B53D95E6EB84}" type="datetime'''J''''''''''''''''''''''u''''''''''''''''''''''''''''''n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un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4B686C9-989B-42F2-AD3C-499033883D5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505199" y="5335588"/>
            <a:ext cx="2047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E5D630C-30CE-40EC-B362-F93E831A5568}" type="datetime'''''J''''''''''''''u''''''''''''''''''''''''''''''''''''''''l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u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6F233A3-BFA9-441D-B9D2-B9B5A7531AE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332287" y="5335588"/>
            <a:ext cx="2936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B6883F65-7E84-400D-946E-D0FE5E5B06A0}" type="datetime'''''''''''''A''''''''''''u''''''''''''''''''''''g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Aug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AF7AC4C4-ABC9-41EB-A5B8-4B194DD6B82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211763" y="5335588"/>
            <a:ext cx="27622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9BE29EB7-45F5-4C94-BA69-BB592F9AB674}" type="datetime'''''''''S''''''''''''''''''''''''''''''''''''ep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Sep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A8BF74A2-C401-49B2-A884-8DBD6195368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091238" y="5335588"/>
            <a:ext cx="26511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5CC1375A-F86D-446F-B7CE-B771FB205842}" type="datetime'''''''''''''''''''''O''''''''''''''c''''''t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Oct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715586C-C3AD-48FE-B59B-94B8B18890F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943725" y="5335588"/>
            <a:ext cx="30162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9115E27-8626-4463-85E0-9F182F69FB6F}" type="datetime'N''''''''''''''''''''''''''''''''o''''''''v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Nov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5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850188" y="2782888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5A0636-AFC4-46FB-830C-56D298A8D3B9}" type="datetime'6''''''''''''''''''''''''''''''''''''''''''''''''''''''2'''''">
              <a:rPr lang="en-GB" altLang="en-US" sz="1400" smtClean="0">
                <a:solidFill>
                  <a:srgbClr val="000000"/>
                </a:solidFill>
                <a:effectLst/>
              </a:rPr>
              <a:pPr/>
              <a:t>62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DA5F07FB-1ABA-43F5-811E-9F3EA435A3A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823200" y="5335588"/>
            <a:ext cx="28575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7055993-9261-46B4-8C58-D5F44D9B0413}" type="datetime'D''''''''''''''''''''''''''''e''''''''''''''''''''''''''''''c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Dec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4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8721725" y="4532313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926A56-4DD9-486D-9F19-12579A355F08}" type="datetime'''''''''''''''''''''1''''''''''''''2'''''''''''''">
              <a:rPr lang="en-GB" altLang="en-US" sz="1400" smtClean="0">
                <a:effectLst/>
              </a:rPr>
              <a:pPr/>
              <a:t>12</a:t>
            </a:fld>
            <a:endParaRPr lang="en-GB" sz="1400" dirty="0">
              <a:sym typeface="+mn-lt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95FD307A-9FA0-4505-AB3C-41DB3DD08DBE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8713787" y="5335588"/>
            <a:ext cx="24923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42938080-05C6-493E-A625-3764F09533FB}" type="datetime'''J''''''''''a''n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an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CD00C85-1BD5-4435-A190-4FB4701D017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9574213" y="5335588"/>
            <a:ext cx="27305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BDA6F19-596A-44A0-BA04-D6776285E01E}" type="datetime'''''''''''''F''''''''''''''''''''''''''eb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Feb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18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0466388" y="2636838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77AD2CA-CF8A-4C2F-884D-B291C4C65A9F}" type="datetime'''''5''''''''''''''''''''''''''''8'''''''''''">
              <a:rPr lang="en-GB" altLang="en-US" sz="1400" smtClean="0"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8</a:t>
            </a:fld>
            <a:endParaRPr lang="en-GB" sz="1400" dirty="0">
              <a:sym typeface="+mn-lt"/>
            </a:endParaRP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D6EFDA10-9357-4F77-81CA-51C3BE586561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0426700" y="5335588"/>
            <a:ext cx="31273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C7C704F-FDEC-45AC-ADFE-58795018162D}" type="datetime'''''''''''''''''''Ma''''r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Mar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11E16AD-AB8F-4718-B6E3-604938519AFC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11010901" y="4311650"/>
            <a:ext cx="257175" cy="0"/>
          </a:xfrm>
          <a:prstGeom prst="line">
            <a:avLst/>
          </a:prstGeom>
          <a:ln w="28575" cap="rnd" cmpd="sng" algn="ctr">
            <a:solidFill>
              <a:srgbClr val="A4264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28509CC-1AAC-49B5-8349-A98D6740BD29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>
            <a:off x="11010901" y="4594225"/>
            <a:ext cx="257175" cy="0"/>
          </a:xfrm>
          <a:prstGeom prst="line">
            <a:avLst/>
          </a:prstGeom>
          <a:ln w="28575" cap="rnd" cmpd="sng" algn="ctr">
            <a:solidFill>
              <a:srgbClr val="1E5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1333163" y="4217988"/>
            <a:ext cx="444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FF63BC20-5D69-4B05-8445-AFD7C0F9A64B}" type="datetime'F''''''''''''''''''''''''''''''''''''''''''''''''''''Y'' 24'">
              <a:rPr lang="en-US" altLang="en-US" sz="1600" smtClean="0">
                <a:solidFill>
                  <a:srgbClr val="000000"/>
                </a:solidFill>
              </a:rPr>
              <a:pPr/>
              <a:t>FY 24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48CC1E73-9CF2-41BB-A0AE-DBDB552C4D7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1333163" y="4500563"/>
            <a:ext cx="444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5B163B3D-B313-465D-9B62-AF8CB2A0BE51}" type="datetime'''F''Y'''''''''''''''''''''''''''''' ''''''''2''''3'''''''''''">
              <a:rPr lang="en-US" altLang="en-US" sz="1600" smtClean="0">
                <a:solidFill>
                  <a:srgbClr val="000000"/>
                </a:solidFill>
              </a:rPr>
              <a:pPr/>
              <a:t>FY 23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15BDD44-E354-40B4-868D-D4C948D2A74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7EFD475-9FFB-4CA2-B03B-4A6211A11EED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2">
            <p14:nvContentPartPr>
              <p14:cNvPr id="24" name="Ink 23">
                <a:extLst>
                  <a:ext uri="{FF2B5EF4-FFF2-40B4-BE49-F238E27FC236}">
                    <a16:creationId xmlns:a16="http://schemas.microsoft.com/office/drawing/2014/main" id="{38F85CCD-8EE0-4864-A027-2A255A0DFED8}"/>
                  </a:ext>
                </a:extLst>
              </p14:cNvPr>
              <p14:cNvContentPartPr/>
              <p14:nvPr/>
            </p14:nvContentPartPr>
            <p14:xfrm>
              <a:off x="990045" y="4171800"/>
              <a:ext cx="360" cy="360"/>
            </p14:xfrm>
          </p:contentPart>
        </mc:Choice>
        <mc:Fallback xmlns="">
          <p:pic>
            <p:nvPicPr>
              <p:cNvPr id="24" name="Ink 23">
                <a:extLst>
                  <a:ext uri="{FF2B5EF4-FFF2-40B4-BE49-F238E27FC236}">
                    <a16:creationId xmlns:a16="http://schemas.microsoft.com/office/drawing/2014/main" id="{38F85CCD-8EE0-4864-A027-2A255A0DFED8}"/>
                  </a:ext>
                </a:extLst>
              </p:cNvPr>
              <p:cNvPicPr/>
              <p:nvPr/>
            </p:nvPicPr>
            <p:blipFill>
              <a:blip r:embed="rId43"/>
              <a:stretch>
                <a:fillRect/>
              </a:stretch>
            </p:blipFill>
            <p:spPr>
              <a:xfrm>
                <a:off x="985725" y="4167480"/>
                <a:ext cx="9000" cy="9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4">
            <p14:nvContentPartPr>
              <p14:cNvPr id="25" name="Ink 24">
                <a:extLst>
                  <a:ext uri="{FF2B5EF4-FFF2-40B4-BE49-F238E27FC236}">
                    <a16:creationId xmlns:a16="http://schemas.microsoft.com/office/drawing/2014/main" id="{56162691-EF1B-4F01-89EC-25EBA7B4E81D}"/>
                  </a:ext>
                </a:extLst>
              </p14:cNvPr>
              <p14:cNvContentPartPr/>
              <p14:nvPr/>
            </p14:nvContentPartPr>
            <p14:xfrm>
              <a:off x="1952325" y="6743280"/>
              <a:ext cx="360" cy="360"/>
            </p14:xfrm>
          </p:contentPart>
        </mc:Choice>
        <mc:Fallback xmlns="">
          <p:pic>
            <p:nvPicPr>
              <p:cNvPr id="25" name="Ink 24">
                <a:extLst>
                  <a:ext uri="{FF2B5EF4-FFF2-40B4-BE49-F238E27FC236}">
                    <a16:creationId xmlns:a16="http://schemas.microsoft.com/office/drawing/2014/main" id="{56162691-EF1B-4F01-89EC-25EBA7B4E81D}"/>
                  </a:ext>
                </a:extLst>
              </p:cNvPr>
              <p:cNvPicPr/>
              <p:nvPr/>
            </p:nvPicPr>
            <p:blipFill>
              <a:blip r:embed="rId43"/>
              <a:stretch>
                <a:fillRect/>
              </a:stretch>
            </p:blipFill>
            <p:spPr>
              <a:xfrm>
                <a:off x="1948005" y="6738960"/>
                <a:ext cx="9000" cy="9000"/>
              </a:xfrm>
              <a:prstGeom prst="rect">
                <a:avLst/>
              </a:prstGeom>
            </p:spPr>
          </p:pic>
        </mc:Fallback>
      </mc:AlternateContent>
      <p:sp>
        <p:nvSpPr>
          <p:cNvPr id="122" name="ee4pFootnotes">
            <a:extLst>
              <a:ext uri="{FF2B5EF4-FFF2-40B4-BE49-F238E27FC236}">
                <a16:creationId xmlns:a16="http://schemas.microsoft.com/office/drawing/2014/main" id="{A71ED815-4425-44B9-8F9E-6978373914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325" y="6516185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sym typeface="Trebuchet MS" panose="020B0603020202020204" pitchFamily="34" charset="0"/>
              </a:rPr>
              <a:t>Source: ICEMA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8E19CE6-E28D-4EA3-B2B6-9BB04DA55AE3}"/>
              </a:ext>
            </a:extLst>
          </p:cNvPr>
          <p:cNvSpPr txBox="1"/>
          <p:nvPr/>
        </p:nvSpPr>
        <p:spPr>
          <a:xfrm>
            <a:off x="1069975" y="1504951"/>
            <a:ext cx="904968" cy="1682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sym typeface="Trebuchet MS" panose="020B0603020202020204" pitchFamily="34" charset="0"/>
              </a:rPr>
              <a:t>Units sold</a:t>
            </a:r>
          </a:p>
        </p:txBody>
      </p:sp>
    </p:spTree>
    <p:extLst>
      <p:ext uri="{BB962C8B-B14F-4D97-AF65-F5344CB8AC3E}">
        <p14:creationId xmlns:p14="http://schemas.microsoft.com/office/powerpoint/2010/main" val="2711140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074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286" imgH="286" progId="TCLayout.ActiveDocument.1">
                  <p:embed/>
                </p:oleObj>
              </mc:Choice>
              <mc:Fallback>
                <p:oleObj name="think-cell Slide" r:id="rId4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2" name="Rectangle 27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813" y="226966"/>
            <a:ext cx="10933350" cy="332399"/>
          </a:xfrm>
        </p:spPr>
        <p:txBody>
          <a:bodyPr vert="horz"/>
          <a:lstStyle/>
          <a:p>
            <a:r>
              <a:rPr lang="en-US" b="1" dirty="0">
                <a:solidFill>
                  <a:schemeClr val="bg1"/>
                </a:solidFill>
              </a:rPr>
              <a:t>Material Processing Equipment: </a:t>
            </a:r>
            <a:r>
              <a:rPr lang="en-US" dirty="0">
                <a:solidFill>
                  <a:schemeClr val="bg1"/>
                </a:solidFill>
              </a:rPr>
              <a:t>Historical trend of Domestic Sales</a:t>
            </a:r>
          </a:p>
        </p:txBody>
      </p:sp>
      <p:graphicFrame>
        <p:nvGraphicFramePr>
          <p:cNvPr id="42" name="Chart 41">
            <a:extLst>
              <a:ext uri="{FF2B5EF4-FFF2-40B4-BE49-F238E27FC236}">
                <a16:creationId xmlns:a16="http://schemas.microsoft.com/office/drawing/2014/main" id="{79D1EE51-BFAB-B799-6E87-25AD2DD5E803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33840441"/>
              </p:ext>
            </p:extLst>
          </p:nvPr>
        </p:nvGraphicFramePr>
        <p:xfrm>
          <a:off x="908050" y="1485900"/>
          <a:ext cx="9856788" cy="3873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92150" y="4900613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22779EE-DD52-4D29-B452-44B2FE8FD524}" type="datetime'''''''''''''''''''''''''''''''''''''''''''''''''2''0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92150" y="4616450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4C174AB-41C5-44E3-B79C-8DA00F4E9F36}" type="datetime'''''''''4''''''''''''''0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92150" y="4330700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30535D7-FBCC-4750-BF3F-BF874386C452}" type="datetime'''''''''''''''''60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92150" y="4044950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0674F63-E1DF-491E-9AE2-8BE555F9F9A7}" type="datetime'''''''''''''8''0''''''''''''''''''''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01663" y="3760788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B7C5BD7-E85B-4A1F-B3E9-59BB5BA53DE6}" type="datetime'''''1''''''''''''0''''''''''''''''''''''0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01663" y="3475038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95BF3A3-0F89-44E9-94C7-6A3A68E1ACFF}" type="datetime'''''1''''''''''''''2''''''''0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01663" y="3189288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9D98D5F-0C90-44B6-82F0-37B6D3F9B94C}" type="datetime'''''''''''1''''''''''''''4''''''''0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4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01663" y="2903538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18A2DBD-BD0F-48F1-A7BD-84C6EA01F6E9}" type="datetime'''''''''''''''''''''''''1''''''''''''''6''0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6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01663" y="2619375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44533C1-4B02-4B03-BBA0-9FEF65441103}" type="datetime'''''''''1''''''8''''''''''''''''0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8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01663" y="2333625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09323AE-346D-42B6-BA3F-DD031F914156}" type="datetime'2''''0''0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01663" y="2047875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F130349-F9D1-4FDB-83E2-D600B3A7E46B}" type="datetime'''''''''''''''''2''''''''''''''''''''''''20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2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01663" y="1763713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CE7DDBD-65F3-469B-A1F4-13B848B01D2F}" type="datetime'''''''''''''2''''''''''4''''''0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4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01663" y="1477963"/>
            <a:ext cx="2714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F5B2120-C5F6-4542-B616-B0B9AA3834F8}" type="datetime'''''2''''''''''''''''''''''''''''6''''''''''''0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6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2A8121E-FC81-40D3-B058-45E234325F6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782638" y="5154612"/>
            <a:ext cx="904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575757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75757"/>
              </a:buClr>
              <a:buSzTx/>
              <a:buFont typeface="Arial" panose="020B0604020202020204" pitchFamily="34" charset="0"/>
              <a:buChar char="​"/>
              <a:tabLst/>
              <a:defRPr/>
            </a:pPr>
            <a:fld id="{83BEFE7A-5AB2-49EA-AC12-821194336620}" type="datetime'''0'''''''''''''''''''''''''''''">
              <a:rPr lang="en-US" altLang="en-US" sz="1400" u="none" strike="noStrike" normalizeH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75757"/>
                </a:buClr>
                <a:buSzTx/>
                <a:buFont typeface="Arial" panose="020B0604020202020204" pitchFamily="34" charset="0"/>
                <a:buChar char="​"/>
                <a:tabLst/>
                <a:defRPr/>
              </a:pPr>
              <a:t>0</a:t>
            </a:fld>
            <a:endParaRPr lang="en-US" sz="1400" u="none" strike="noStrike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63E3FA4-FE63-F097-5FC1-9F3EFABAB8FE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 flipH="1">
            <a:off x="996950" y="2354262"/>
            <a:ext cx="133350" cy="2428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58A3AB16-040D-1CE8-228D-A7F881C83A63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 flipH="1" flipV="1">
            <a:off x="998538" y="2663826"/>
            <a:ext cx="90488" cy="1190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01663" y="1143000"/>
            <a:ext cx="10842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Domestic Sales</a:t>
            </a:r>
          </a:p>
        </p:txBody>
      </p:sp>
      <p:sp useBgFill="1">
        <p:nvSpPr>
          <p:cNvPr id="45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022350" y="2162175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79AD98A1-CEB7-4E57-B335-4ADD5C574133}" type="datetime'''''''''''''''''''1''''8''''''''''''7'''''">
              <a:rPr lang="en-GB" altLang="en-US" sz="1400" smtClean="0">
                <a:effectLst/>
                <a:sym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87</a:t>
            </a:fld>
            <a:endParaRPr lang="en-GB" sz="1400" dirty="0">
              <a:sym typeface="+mn-lt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CF2356D-F2B1-4977-80A4-698019BAEACE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55663" y="5335588"/>
            <a:ext cx="27146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A63BF62-6532-4B7C-8CCD-AC040EB7E9BE}" type="datetime'''''A''''''''''''''''''p''''''''''''''r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Apr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50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701800" y="1757363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511DEE1-46FD-4395-BD00-3802DC0E8C43}" type="datetime'''''''2''''''''''5''''''1'''''''''''''">
              <a:rPr lang="en-GB" altLang="en-US" sz="1400" smtClean="0"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1</a:t>
            </a:fld>
            <a:endParaRPr lang="en-GB" sz="1400" dirty="0">
              <a:sym typeface="+mn-lt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556C819-F711-419D-883C-5897179D443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698625" y="5335588"/>
            <a:ext cx="32861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F622ABD-F475-40CE-AF9F-025DA77BD86D}" type="datetime'''''''''''''M''''''''''''''a''''''''''y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May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9B83915-2A28-47D6-875C-D959919D619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606675" y="5335588"/>
            <a:ext cx="25717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A41F055-6D1D-4A0D-A61B-B53D95E6EB84}" type="datetime'''J''''''''''''''''''''''u''''''''''''''''''''''''''''''n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un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53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446463" y="2255838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07AD76-F134-47C7-A9E1-FB75F14ECB2C}" type="datetime'''''''''''''''''''''''''''''2''''''1''''''''6'''''''''">
              <a:rPr lang="en-GB" altLang="en-US" sz="1400" smtClean="0"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6</a:t>
            </a:fld>
            <a:endParaRPr lang="en-GB" sz="1400" dirty="0">
              <a:sym typeface="+mn-lt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4B686C9-989B-42F2-AD3C-499033883D52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505200" y="5335588"/>
            <a:ext cx="2047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E5D630C-30CE-40EC-B362-F93E831A5568}" type="datetime'''''J''''''''''''''u''''''''''''''''''''''''''''''''''''''''l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u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6F233A3-BFA9-441D-B9D2-B9B5A7531AE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332288" y="5335588"/>
            <a:ext cx="2936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B6883F65-7E84-400D-946E-D0FE5E5B06A0}" type="datetime'''''''''''''A''''''''''''u''''''''''''''''''''''g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Aug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AF7AC4C4-ABC9-41EB-A5B8-4B194DD6B82D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211763" y="5335588"/>
            <a:ext cx="27622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9BE29EB7-45F5-4C94-BA69-BB592F9AB674}" type="datetime'''''''''S''''''''''''''''''''''''''''''''''''ep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Sep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54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062663" y="2870200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02B7248-03E2-4F28-866A-13954AD96CB3}" type="datetime'''''''''1''''''''''''''''''7''''''''''''3'''''''''''''''">
              <a:rPr lang="en-GB" altLang="en-US" sz="1400" smtClean="0"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3</a:t>
            </a:fld>
            <a:endParaRPr lang="en-GB" sz="1400" dirty="0">
              <a:sym typeface="+mn-lt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A8BF74A2-C401-49B2-A884-8DBD61953683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091238" y="5335588"/>
            <a:ext cx="26511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5CC1375A-F86D-446F-B7CE-B771FB205842}" type="datetime'''''''''''''''''''''O''''''''''''''c''''''t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Oct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715586C-C3AD-48FE-B59B-94B8B18890F4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943725" y="5335588"/>
            <a:ext cx="30162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9115E27-8626-4463-85E0-9F182F69FB6F}" type="datetime'N''''''''''''''''''''''''''''''''o''''''''v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Nov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55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7805738" y="2713038"/>
            <a:ext cx="322263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2680D06-C2A8-48CF-83A7-3BBE450AB621}" type="datetime'''''''''''''''1''''''''''''''''''''8''''''4'''">
              <a:rPr lang="en-GB" altLang="en-US" sz="1400" smtClean="0"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4</a:t>
            </a:fld>
            <a:endParaRPr lang="en-GB" sz="1400" dirty="0">
              <a:sym typeface="+mn-lt"/>
            </a:endParaRP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DA5F07FB-1ABA-43F5-811E-9F3EA435A3A0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823200" y="5335588"/>
            <a:ext cx="28575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7055993-9261-46B4-8C58-D5F44D9B0413}" type="datetime'D''''''''''''''''''''''''''''e''''''''''''''''''''''''''''''c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Dec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95FD307A-9FA0-4505-AB3C-41DB3DD08DBE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8713788" y="5335588"/>
            <a:ext cx="24923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42938080-05C6-493E-A625-3764F09533FB}" type="datetime'''J''''''''''a''n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an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CD00C85-1BD5-4435-A190-4FB4701D0175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9574213" y="5335588"/>
            <a:ext cx="27305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BDA6F19-596A-44A0-BA04-D6776285E01E}" type="datetime'''''''''''''F''''''''''''''''''''''''''eb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Feb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D6EFDA10-9357-4F77-81CA-51C3BE586561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0426700" y="5335588"/>
            <a:ext cx="31273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C7C704F-FDEC-45AC-ADFE-58795018162D}" type="datetime'''''''''''''''''''Ma''''r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Mar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11E16AD-AB8F-4718-B6E3-604938519AFC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>
            <a:off x="11010901" y="4311650"/>
            <a:ext cx="257175" cy="0"/>
          </a:xfrm>
          <a:prstGeom prst="line">
            <a:avLst/>
          </a:prstGeom>
          <a:ln w="28575" cap="rnd" cmpd="sng" algn="ctr">
            <a:solidFill>
              <a:srgbClr val="A4264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D2F0445-AC3D-4AFA-8865-FF0097246CA3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">
          <a:xfrm>
            <a:off x="11010901" y="4594225"/>
            <a:ext cx="257175" cy="0"/>
          </a:xfrm>
          <a:prstGeom prst="line">
            <a:avLst/>
          </a:prstGeom>
          <a:ln w="28575" cap="rnd" cmpd="sng" algn="ctr">
            <a:solidFill>
              <a:srgbClr val="1E5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1333163" y="4217988"/>
            <a:ext cx="444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6F4E13BE-2733-4487-A1C2-84944436755F}" type="datetime'F''Y'''''' 2''''''''''''''''''''''''''''4'''''''''''''''''">
              <a:rPr lang="en-US" altLang="en-US" sz="1600" smtClean="0">
                <a:solidFill>
                  <a:srgbClr val="000000"/>
                </a:solidFill>
              </a:rPr>
              <a:pPr/>
              <a:t>FY 24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5539EFCE-573D-4281-9594-44E92D8280D0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1333163" y="4500563"/>
            <a:ext cx="444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1D2D041F-3EE9-4B0B-A494-EF4401E75C70}" type="datetime'''''''''''F''''''Y'''' ''''''''''''''''''''23'''''''">
              <a:rPr lang="en-US" altLang="en-US" sz="1600" smtClean="0">
                <a:solidFill>
                  <a:srgbClr val="000000"/>
                </a:solidFill>
              </a:rPr>
              <a:pPr/>
              <a:t>FY 23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15BDD44-E354-40B4-868D-D4C948D2A74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7EFD475-9FFB-4CA2-B03B-4A6211A11EED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7">
            <p14:nvContentPartPr>
              <p14:cNvPr id="24" name="Ink 23">
                <a:extLst>
                  <a:ext uri="{FF2B5EF4-FFF2-40B4-BE49-F238E27FC236}">
                    <a16:creationId xmlns:a16="http://schemas.microsoft.com/office/drawing/2014/main" id="{38F85CCD-8EE0-4864-A027-2A255A0DFED8}"/>
                  </a:ext>
                </a:extLst>
              </p14:cNvPr>
              <p14:cNvContentPartPr/>
              <p14:nvPr/>
            </p14:nvContentPartPr>
            <p14:xfrm>
              <a:off x="990045" y="4171800"/>
              <a:ext cx="360" cy="360"/>
            </p14:xfrm>
          </p:contentPart>
        </mc:Choice>
        <mc:Fallback xmlns="">
          <p:pic>
            <p:nvPicPr>
              <p:cNvPr id="24" name="Ink 23">
                <a:extLst>
                  <a:ext uri="{FF2B5EF4-FFF2-40B4-BE49-F238E27FC236}">
                    <a16:creationId xmlns:a16="http://schemas.microsoft.com/office/drawing/2014/main" id="{38F85CCD-8EE0-4864-A027-2A255A0DFED8}"/>
                  </a:ext>
                </a:extLst>
              </p:cNvPr>
              <p:cNvPicPr/>
              <p:nvPr/>
            </p:nvPicPr>
            <p:blipFill>
              <a:blip r:embed="rId48"/>
              <a:stretch>
                <a:fillRect/>
              </a:stretch>
            </p:blipFill>
            <p:spPr>
              <a:xfrm>
                <a:off x="985725" y="4167480"/>
                <a:ext cx="9000" cy="9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9">
            <p14:nvContentPartPr>
              <p14:cNvPr id="25" name="Ink 24">
                <a:extLst>
                  <a:ext uri="{FF2B5EF4-FFF2-40B4-BE49-F238E27FC236}">
                    <a16:creationId xmlns:a16="http://schemas.microsoft.com/office/drawing/2014/main" id="{56162691-EF1B-4F01-89EC-25EBA7B4E81D}"/>
                  </a:ext>
                </a:extLst>
              </p14:cNvPr>
              <p14:cNvContentPartPr/>
              <p14:nvPr/>
            </p14:nvContentPartPr>
            <p14:xfrm>
              <a:off x="1952325" y="6743280"/>
              <a:ext cx="360" cy="360"/>
            </p14:xfrm>
          </p:contentPart>
        </mc:Choice>
        <mc:Fallback xmlns="">
          <p:pic>
            <p:nvPicPr>
              <p:cNvPr id="25" name="Ink 24">
                <a:extLst>
                  <a:ext uri="{FF2B5EF4-FFF2-40B4-BE49-F238E27FC236}">
                    <a16:creationId xmlns:a16="http://schemas.microsoft.com/office/drawing/2014/main" id="{56162691-EF1B-4F01-89EC-25EBA7B4E81D}"/>
                  </a:ext>
                </a:extLst>
              </p:cNvPr>
              <p:cNvPicPr/>
              <p:nvPr/>
            </p:nvPicPr>
            <p:blipFill>
              <a:blip r:embed="rId48"/>
              <a:stretch>
                <a:fillRect/>
              </a:stretch>
            </p:blipFill>
            <p:spPr>
              <a:xfrm>
                <a:off x="1948005" y="6738960"/>
                <a:ext cx="9000" cy="9000"/>
              </a:xfrm>
              <a:prstGeom prst="rect">
                <a:avLst/>
              </a:prstGeom>
            </p:spPr>
          </p:pic>
        </mc:Fallback>
      </mc:AlternateContent>
      <p:sp>
        <p:nvSpPr>
          <p:cNvPr id="144" name="ee4pFootnotes">
            <a:extLst>
              <a:ext uri="{FF2B5EF4-FFF2-40B4-BE49-F238E27FC236}">
                <a16:creationId xmlns:a16="http://schemas.microsoft.com/office/drawing/2014/main" id="{F62E61F2-8F5C-444F-8247-378A9B134C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325" y="6516185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sym typeface="Trebuchet MS" panose="020B0603020202020204" pitchFamily="34" charset="0"/>
              </a:rPr>
              <a:t>Source: ICEMA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BD92AB4-AE1E-4619-B049-89D750A7E169}"/>
              </a:ext>
            </a:extLst>
          </p:cNvPr>
          <p:cNvSpPr txBox="1"/>
          <p:nvPr/>
        </p:nvSpPr>
        <p:spPr>
          <a:xfrm>
            <a:off x="908050" y="1429545"/>
            <a:ext cx="904968" cy="1682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sym typeface="Trebuchet MS" panose="020B0603020202020204" pitchFamily="34" charset="0"/>
              </a:rPr>
              <a:t>Units sold</a:t>
            </a:r>
          </a:p>
        </p:txBody>
      </p:sp>
    </p:spTree>
    <p:extLst>
      <p:ext uri="{BB962C8B-B14F-4D97-AF65-F5344CB8AC3E}">
        <p14:creationId xmlns:p14="http://schemas.microsoft.com/office/powerpoint/2010/main" val="4193969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6988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286" imgH="286" progId="TCLayout.ActiveDocument.1">
                  <p:embed/>
                </p:oleObj>
              </mc:Choice>
              <mc:Fallback>
                <p:oleObj name="think-cell Slide" r:id="rId36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2" name="Rectangle 27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813" y="226966"/>
            <a:ext cx="10933350" cy="332399"/>
          </a:xfrm>
        </p:spPr>
        <p:txBody>
          <a:bodyPr vert="horz"/>
          <a:lstStyle/>
          <a:p>
            <a:r>
              <a:rPr lang="en-US" b="1" dirty="0">
                <a:solidFill>
                  <a:schemeClr val="bg1"/>
                </a:solidFill>
              </a:rPr>
              <a:t>Material Processing Equipment: </a:t>
            </a:r>
            <a:r>
              <a:rPr lang="en-US" dirty="0">
                <a:solidFill>
                  <a:schemeClr val="bg1"/>
                </a:solidFill>
              </a:rPr>
              <a:t>Historical Trend of Export Sales</a:t>
            </a:r>
          </a:p>
        </p:txBody>
      </p: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38D5FBFB-EDE4-0D4D-33C1-6DB6C5B1539D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98227320"/>
              </p:ext>
            </p:extLst>
          </p:nvPr>
        </p:nvGraphicFramePr>
        <p:xfrm>
          <a:off x="908050" y="1485900"/>
          <a:ext cx="9810750" cy="3873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2A8121E-FC81-40D3-B058-45E234325F6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82638" y="5154612"/>
            <a:ext cx="904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1600" b="1" kern="120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575757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575757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292929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  <a:defRPr/>
            </a:pPr>
            <a:fld id="{5F9EA9B7-224B-4CA1-8B7A-748E9F61D8EC}" type="datetime'''0'''''''''''''''''''''''''''''">
              <a:rPr lang="en-GB" altLang="en-US" sz="1400" smtClean="0">
                <a:solidFill>
                  <a:srgbClr val="000000"/>
                </a:solidFill>
              </a:rPr>
              <a:pPr/>
              <a:t>0</a:t>
            </a:fld>
            <a:endParaRPr lang="en-US" sz="1400" strike="noStrike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82638" y="4722813"/>
            <a:ext cx="904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43F6A8C-1779-4A69-82FC-57A8EBDDB989}" type="datetime'''''''''''''''''''''''''''''''''''''''''''''5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92150" y="4259263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690FA0A-51D3-4E07-8935-462A980103AB}" type="datetime'''''''''''''''''''1''''''''''''''''''''''''''0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92150" y="3795713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6EA8C70-083C-4C3E-B180-5F642C7135A6}" type="datetime'''''''''''''''''1''''''''5''''''''''''''''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92150" y="3332163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5A4752C-7253-424D-A1E2-C09F44979B48}" type="datetime'''''''''''''2''''''''''''''''''''''''''''''0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92150" y="2868613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A34EE32-282C-45A8-AC79-E8F3D94C3735}" type="datetime'''''''''''''2''''''''''''''''''''''''''''''''''''''''5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92150" y="2405063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DFF1E6E-8B27-4D77-9DA2-390BEB360279}" type="datetime'''30''''''''''''''''''''''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92150" y="1941513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9774857-E6A2-4236-BB8F-496F5B725245}" type="datetime'''''''''''''''''''3''''''''5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92150" y="1477963"/>
            <a:ext cx="1809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AC50451-5611-4439-A389-9F582BF968D2}" type="datetime'''4''''''''''''''''0'''''''''''''''''''''''''''''''''''''''''">
              <a:rPr lang="en-GB" altLang="en-US" sz="1400" smtClean="0">
                <a:solidFill>
                  <a:srgbClr val="000000"/>
                </a:solidFill>
                <a:effectLst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3A0BDE2-AD04-1A0E-23A4-841F2586D650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H="1" flipV="1">
            <a:off x="1000125" y="2227263"/>
            <a:ext cx="52388" cy="508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3C5E5D9-05E1-3DB5-E90D-7C308DA792FF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H="1" flipV="1">
            <a:off x="2736850" y="2324100"/>
            <a:ext cx="23813" cy="2206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92150" y="1143000"/>
            <a:ext cx="8810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Export Sales</a:t>
            </a:r>
          </a:p>
        </p:txBody>
      </p:sp>
      <p:sp useBgFill="1">
        <p:nvSpPr>
          <p:cNvPr id="23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035050" y="2647950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B965CD9-5BB5-4AD1-915E-6419D170DAA2}" type="datetime'''''''''''''''2''''9'''''''''''''''''''''''''''''''''">
              <a:rPr lang="en-GB" altLang="en-US" sz="1400" smtClean="0"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</a:t>
            </a:fld>
            <a:endParaRPr lang="en-GB" sz="1400" dirty="0">
              <a:sym typeface="+mn-lt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CF2356D-F2B1-4977-80A4-698019BAEAC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55663" y="5335588"/>
            <a:ext cx="27146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A63BF62-6532-4B7C-8CCD-AC040EB7E9BE}" type="datetime'''''A''''''''''''''''''p''''''''''''''r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Apr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556C819-F711-419D-883C-5897179D443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698625" y="5335588"/>
            <a:ext cx="32861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F622ABD-F475-40CE-AF9F-025DA77BD86D}" type="datetime'''''''''''''M''''''''''''''a''''''''''y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May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9B83915-2A28-47D6-875C-D959919D619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606675" y="5335588"/>
            <a:ext cx="25717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A41F055-6D1D-4A0D-A61B-B53D95E6EB84}" type="datetime'''J''''''''''''''''''''''u''''''''''''''''''''''''''''''n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un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4B686C9-989B-42F2-AD3C-499033883D5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505200" y="5335588"/>
            <a:ext cx="2047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E5D630C-30CE-40EC-B362-F93E831A5568}" type="datetime'''''J''''''''''''''u''''''''''''''''''''''''''''''''''''''''l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ul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6F233A3-BFA9-441D-B9D2-B9B5A7531AE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332288" y="5335588"/>
            <a:ext cx="29368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B6883F65-7E84-400D-946E-D0FE5E5B06A0}" type="datetime'''''''''''''A''''''''''''u''''''''''''''''''''''g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Aug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AF7AC4C4-ABC9-41EB-A5B8-4B194DD6B82D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211763" y="5335588"/>
            <a:ext cx="27622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9BE29EB7-45F5-4C94-BA69-BB592F9AB674}" type="datetime'''''''''S''''''''''''''''''''''''''''''''''''ep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Sep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A8BF74A2-C401-49B2-A884-8DBD6195368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091238" y="5335588"/>
            <a:ext cx="26511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5CC1375A-F86D-446F-B7CE-B771FB205842}" type="datetime'''''''''''''''''''''O''''''''''''''c''''''t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Oct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715586C-C3AD-48FE-B59B-94B8B18890F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943725" y="5335588"/>
            <a:ext cx="301625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9115E27-8626-4463-85E0-9F182F69FB6F}" type="datetime'N''''''''''''''''''''''''''''''''o''''''''v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Nov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 useBgFill="1">
        <p:nvSpPr>
          <p:cNvPr id="2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7850188" y="2092325"/>
            <a:ext cx="23177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7F5E47F-FDF0-4460-858F-A8372AF91E0B}" type="datetime'''''''''''''3''5'''''''''''">
              <a:rPr lang="en-GB" altLang="en-US" sz="1400" smtClean="0"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en-GB" sz="1400" dirty="0">
              <a:sym typeface="+mn-lt"/>
            </a:endParaRP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DA5F07FB-1ABA-43F5-811E-9F3EA435A3A0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823200" y="5335588"/>
            <a:ext cx="28575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7055993-9261-46B4-8C58-D5F44D9B0413}" type="datetime'D''''''''''''''''''''''''''''e''''''''''''''''''''''''''''''c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Dec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95FD307A-9FA0-4505-AB3C-41DB3DD08DB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8713788" y="5335588"/>
            <a:ext cx="24923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42938080-05C6-493E-A625-3764F09533FB}" type="datetime'''J''''''''''a''n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Jan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CD00C85-1BD5-4435-A190-4FB4701D0175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9574213" y="5335588"/>
            <a:ext cx="27305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BDA6F19-596A-44A0-BA04-D6776285E01E}" type="datetime'''''''''''''F''''''''''''''''''''''''''eb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Feb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D6EFDA10-9357-4F77-81CA-51C3BE58656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0426700" y="5335588"/>
            <a:ext cx="31273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C7C704F-FDEC-45AC-ADFE-58795018162D}" type="datetime'''''''''''''''''''Ma''''r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Mar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11E16AD-AB8F-4718-B6E3-604938519AFC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11010901" y="4311650"/>
            <a:ext cx="257175" cy="0"/>
          </a:xfrm>
          <a:prstGeom prst="line">
            <a:avLst/>
          </a:prstGeom>
          <a:ln w="28575" cap="rnd" cmpd="sng" algn="ctr">
            <a:solidFill>
              <a:srgbClr val="A4264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D2F0445-AC3D-4AFA-8865-FF0097246CA3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11010901" y="4594225"/>
            <a:ext cx="257175" cy="0"/>
          </a:xfrm>
          <a:prstGeom prst="line">
            <a:avLst/>
          </a:prstGeom>
          <a:ln w="28575" cap="rnd" cmpd="sng" algn="ctr">
            <a:solidFill>
              <a:srgbClr val="1E5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1333163" y="4217988"/>
            <a:ext cx="444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4F9DA85A-1537-4C61-82A8-1BEE0D620BAF}" type="datetime'''''F''Y ''2''''''''''4'''''''">
              <a:rPr lang="en-US" altLang="en-US" sz="1600" smtClean="0">
                <a:solidFill>
                  <a:srgbClr val="000000"/>
                </a:solidFill>
              </a:rPr>
              <a:pPr/>
              <a:t>FY 24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5539EFCE-573D-4281-9594-44E92D8280D0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1333163" y="4500563"/>
            <a:ext cx="4445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15DE61FC-45BE-47A0-B2FA-87CB9B6614DB}" type="datetime'''FY'''' ''''''''''''''''2''3'''">
              <a:rPr lang="en-US" altLang="en-US" sz="1600" smtClean="0">
                <a:solidFill>
                  <a:srgbClr val="000000"/>
                </a:solidFill>
              </a:rPr>
              <a:pPr/>
              <a:t>FY 23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15BDD44-E354-40B4-868D-D4C948D2A74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97EFD475-9FFB-4CA2-B03B-4A6211A11EED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9">
            <p14:nvContentPartPr>
              <p14:cNvPr id="24" name="Ink 23">
                <a:extLst>
                  <a:ext uri="{FF2B5EF4-FFF2-40B4-BE49-F238E27FC236}">
                    <a16:creationId xmlns:a16="http://schemas.microsoft.com/office/drawing/2014/main" id="{38F85CCD-8EE0-4864-A027-2A255A0DFED8}"/>
                  </a:ext>
                </a:extLst>
              </p14:cNvPr>
              <p14:cNvContentPartPr/>
              <p14:nvPr/>
            </p14:nvContentPartPr>
            <p14:xfrm>
              <a:off x="990045" y="4171800"/>
              <a:ext cx="360" cy="360"/>
            </p14:xfrm>
          </p:contentPart>
        </mc:Choice>
        <mc:Fallback xmlns="">
          <p:pic>
            <p:nvPicPr>
              <p:cNvPr id="24" name="Ink 23">
                <a:extLst>
                  <a:ext uri="{FF2B5EF4-FFF2-40B4-BE49-F238E27FC236}">
                    <a16:creationId xmlns:a16="http://schemas.microsoft.com/office/drawing/2014/main" id="{38F85CCD-8EE0-4864-A027-2A255A0DFED8}"/>
                  </a:ext>
                </a:extLst>
              </p:cNvPr>
              <p:cNvPicPr/>
              <p:nvPr/>
            </p:nvPicPr>
            <p:blipFill>
              <a:blip r:embed="rId40"/>
              <a:stretch>
                <a:fillRect/>
              </a:stretch>
            </p:blipFill>
            <p:spPr>
              <a:xfrm>
                <a:off x="985725" y="4167480"/>
                <a:ext cx="9000" cy="9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1">
            <p14:nvContentPartPr>
              <p14:cNvPr id="25" name="Ink 24">
                <a:extLst>
                  <a:ext uri="{FF2B5EF4-FFF2-40B4-BE49-F238E27FC236}">
                    <a16:creationId xmlns:a16="http://schemas.microsoft.com/office/drawing/2014/main" id="{56162691-EF1B-4F01-89EC-25EBA7B4E81D}"/>
                  </a:ext>
                </a:extLst>
              </p14:cNvPr>
              <p14:cNvContentPartPr/>
              <p14:nvPr/>
            </p14:nvContentPartPr>
            <p14:xfrm>
              <a:off x="1952325" y="6743280"/>
              <a:ext cx="360" cy="360"/>
            </p14:xfrm>
          </p:contentPart>
        </mc:Choice>
        <mc:Fallback xmlns="">
          <p:pic>
            <p:nvPicPr>
              <p:cNvPr id="25" name="Ink 24">
                <a:extLst>
                  <a:ext uri="{FF2B5EF4-FFF2-40B4-BE49-F238E27FC236}">
                    <a16:creationId xmlns:a16="http://schemas.microsoft.com/office/drawing/2014/main" id="{56162691-EF1B-4F01-89EC-25EBA7B4E81D}"/>
                  </a:ext>
                </a:extLst>
              </p:cNvPr>
              <p:cNvPicPr/>
              <p:nvPr/>
            </p:nvPicPr>
            <p:blipFill>
              <a:blip r:embed="rId40"/>
              <a:stretch>
                <a:fillRect/>
              </a:stretch>
            </p:blipFill>
            <p:spPr>
              <a:xfrm>
                <a:off x="1948005" y="6738960"/>
                <a:ext cx="9000" cy="9000"/>
              </a:xfrm>
              <a:prstGeom prst="rect">
                <a:avLst/>
              </a:prstGeom>
            </p:spPr>
          </p:pic>
        </mc:Fallback>
      </mc:AlternateContent>
      <p:sp>
        <p:nvSpPr>
          <p:cNvPr id="144" name="ee4pFootnotes">
            <a:extLst>
              <a:ext uri="{FF2B5EF4-FFF2-40B4-BE49-F238E27FC236}">
                <a16:creationId xmlns:a16="http://schemas.microsoft.com/office/drawing/2014/main" id="{F62E61F2-8F5C-444F-8247-378A9B134C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325" y="6516185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sym typeface="Trebuchet MS" panose="020B0603020202020204" pitchFamily="34" charset="0"/>
              </a:rPr>
              <a:t>Source: ICEMA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EA0D597-D18F-4A8A-96DC-08DB7FF170A0}"/>
              </a:ext>
            </a:extLst>
          </p:cNvPr>
          <p:cNvSpPr txBox="1"/>
          <p:nvPr/>
        </p:nvSpPr>
        <p:spPr>
          <a:xfrm>
            <a:off x="957963" y="1370012"/>
            <a:ext cx="904968" cy="1682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sym typeface="Trebuchet MS" panose="020B0603020202020204" pitchFamily="34" charset="0"/>
              </a:rPr>
              <a:t>Units sold</a:t>
            </a:r>
          </a:p>
        </p:txBody>
      </p:sp>
    </p:spTree>
    <p:extLst>
      <p:ext uri="{BB962C8B-B14F-4D97-AF65-F5344CB8AC3E}">
        <p14:creationId xmlns:p14="http://schemas.microsoft.com/office/powerpoint/2010/main" val="2937602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CF34D5C-0831-4AE8-9281-0D9266FAE2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1431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2" imgW="395" imgH="396" progId="TCLayout.ActiveDocument.1">
                  <p:embed/>
                </p:oleObj>
              </mc:Choice>
              <mc:Fallback>
                <p:oleObj name="think-cell Slide" r:id="rId62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CF34D5C-0831-4AE8-9281-0D9266FAE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7707E7F-C739-4879-92BE-B9719315EB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325" y="241800"/>
            <a:ext cx="10933350" cy="332399"/>
          </a:xfrm>
        </p:spPr>
        <p:txBody>
          <a:bodyPr vert="horz"/>
          <a:lstStyle/>
          <a:p>
            <a:r>
              <a:rPr lang="en-US" dirty="0">
                <a:solidFill>
                  <a:schemeClr val="bg1"/>
                </a:solidFill>
              </a:rPr>
              <a:t>Performance across Major Equipment Categories in June'23</a:t>
            </a:r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F9C11DB5-FFBE-45CF-A233-69F8EDAEEE08}"/>
              </a:ext>
            </a:extLst>
          </p:cNvPr>
          <p:cNvSpPr>
            <a:spLocks/>
          </p:cNvSpPr>
          <p:nvPr/>
        </p:nvSpPr>
        <p:spPr>
          <a:xfrm>
            <a:off x="658813" y="3114675"/>
            <a:ext cx="1068388" cy="346075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7%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FA47F969-9CE3-079C-FF57-BA6C314C592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9702124"/>
              </p:ext>
            </p:extLst>
          </p:nvPr>
        </p:nvGraphicFramePr>
        <p:xfrm>
          <a:off x="274638" y="1420813"/>
          <a:ext cx="10431462" cy="1274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4"/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8278F75-5808-46AD-9734-EBDF9DA70BCC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030288" y="1754188"/>
            <a:ext cx="366713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8E2B84B-7D2A-4403-A4AE-6C074EC173FA}" type="datetime'''''''''''''''1''''''''91''''''''''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191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0F728D0-FFDC-4568-BBB5-62B271FF391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22275" y="2759075"/>
            <a:ext cx="15827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B9AF94F-B303-462F-982C-B6A866BD01B0}" type="datetime'E''arth M''''o''ving ''''''Eq''u''i''''''''''''''p''m''''ent 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Earth Moving Equipment 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7C14911-CB9D-45D4-B05D-B43ECA118B5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113088" y="2390775"/>
            <a:ext cx="160338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FB3DB01-0ACA-40BA-9611-A3FCBF46B0F8}" type="datetime'''''''''''''''''''''''''''''''''7''''''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7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474914" y="2447925"/>
            <a:ext cx="366713" cy="219075"/>
          </a:xfrm>
          <a:prstGeom prst="rect">
            <a:avLst/>
          </a:prstGeom>
          <a:solidFill>
            <a:srgbClr val="1E50A0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403AF0-09A3-47AC-9A40-DF4A3B94324A}" type="datetime'''''''''''''''''''''''''''''''''''88''''''''''''''''''4'">
              <a:rPr lang="en-US" altLang="en-US" sz="1600" smtClean="0">
                <a:solidFill>
                  <a:schemeClr val="bg1"/>
                </a:solidFill>
                <a:effectLst/>
              </a:rPr>
              <a:pPr/>
              <a:t>884</a:t>
            </a:fld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0ACE092-8131-4632-9C5C-9C224FAFD78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286000" y="2759075"/>
            <a:ext cx="12779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76D59CD-E273-49A3-A4D3-0F4882CD932E}" type="datetime'''''''C''''''''oncr''''''''''''e''''''te'''''' Equipm''ent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oncrete Equipment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FA90497-A950-48DE-A51F-6B477464C2C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772025" y="2349500"/>
            <a:ext cx="263525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2A9F959-1BFF-4097-A442-4E08E789575E}" type="datetime'''''''''''''''3''''''''''''''''''''''''''''''0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30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108450" y="2427288"/>
            <a:ext cx="520700" cy="219075"/>
          </a:xfrm>
          <a:prstGeom prst="rect">
            <a:avLst/>
          </a:prstGeom>
          <a:solidFill>
            <a:srgbClr val="1E50A0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CF107D-E8CC-4DFF-8F3E-79ED18B8DBFD}" type="datetime'''''1'',1''''''''''''''''''''''''''''''''''9''''''''''''9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1,199</a:t>
            </a:fld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6F28074-BC62-48A2-8C23-C66760A9D6B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076700" y="2759075"/>
            <a:ext cx="11176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698CBEF-6819-4638-92B0-A340A8CE7777}" type="datetime'M''at''er''i''''al'' ''''''''Handling'' Equ''i''''''pm''''ent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terial Handling Equipment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CF3DC16-2929-4542-84CF-161664B285A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481763" y="2449513"/>
            <a:ext cx="263525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8158198-D5FC-48D3-A06A-9A8D0454A878}" type="datetime'''''''''''''''1''1''''''''''''''''''''''''''''''''''''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11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D664218-156E-4904-95DC-35ACE4D221D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895975" y="2476500"/>
            <a:ext cx="366713" cy="219075"/>
          </a:xfrm>
          <a:prstGeom prst="rect">
            <a:avLst/>
          </a:prstGeom>
          <a:solidFill>
            <a:srgbClr val="1E50A0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6178538-B81D-4705-B026-690A1A1A5767}" type="datetime'''''''''''''''''''''''''''4''''1''0''''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410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7A6FD88-9C35-4681-A1EE-B3BB742A3AE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768975" y="2759075"/>
            <a:ext cx="115411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AB69F10-962F-4104-B892-A0EF5CF291BB}" type="datetime'''Ro''a''''d ''''C''ons''''truc''''''tio''n'' Eq''uipm''e''nt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Road Construction Equipment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02984E62-FA6A-4894-972D-6C538B626F2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8245475" y="2476500"/>
            <a:ext cx="160338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4FA7D39-68F5-4973-A039-13D483665BB2}" type="datetime'''''0'''''''''''''''''">
              <a:rPr kumimoji="0" lang="en-US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07E6A20-5250-4067-BB9F-50418EEECFC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7607300" y="2489200"/>
            <a:ext cx="366713" cy="219075"/>
          </a:xfrm>
          <a:prstGeom prst="rect">
            <a:avLst/>
          </a:prstGeom>
          <a:solidFill>
            <a:srgbClr val="1E50A0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88C33B5-F226-4B66-B1CB-8D298D817CFF}" type="datetime'2''''''''''''''''1''''''''''9''''''''''''''''''''''''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219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7BA506BA-3F9C-452C-AD3F-305BDEC4056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443788" y="2759075"/>
            <a:ext cx="12271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B8D70DC-2196-4A61-8F09-C53F983CEC0F}" type="datetime'Mater''''''i''al Proces''s''''i''ng Eq''''ui''''''pme''n''''t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terial Processing Equipment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6484CF6C-D8B8-48EE-A471-5E55E2582FC3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9585325" y="1408113"/>
            <a:ext cx="366713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3615936-0CD9-43C3-B5FA-365FBF5A538F}" type="datetime'''''''''2''''''''''''''''''3''''''''''''''''''''''''''9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239</a:t>
            </a:fld>
            <a:endParaRPr lang="en-US" sz="1600" strike="noStrike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624BF6B-D504-48AB-956A-6866F77467D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612313" y="2759075"/>
            <a:ext cx="3111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9703C4C-57C6-4A09-94A1-D8736E00AEFE}" type="datetime'''''''''''''''''''''''''T''o''''t''''''''''''a''''''l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Total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721EC0-DE9B-4310-82D7-5CDC887CF55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952500" y="1535113"/>
            <a:ext cx="5207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4031F22-801D-4E4F-99A4-956937679C19}" type="datetime'''''''''''''''''''''''''''6'''',0''''''''''2''1'''''''''''">
              <a:rPr lang="en-US" altLang="en-US" sz="1600" smtClean="0">
                <a:solidFill>
                  <a:srgbClr val="000000"/>
                </a:solidFill>
              </a:rPr>
              <a:pPr/>
              <a:t>6,021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D344A06-FDBF-4412-A369-F3DE1076B40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741614" y="2171700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3470499-67CF-4A00-B912-7FEB1AE53A16}" type="datetime'''''''''8''''''''''''''''''''91'''''''''''''''''''''''">
              <a:rPr lang="en-US" altLang="en-US" sz="1600" smtClean="0">
                <a:solidFill>
                  <a:srgbClr val="000000"/>
                </a:solidFill>
              </a:rPr>
              <a:pPr/>
              <a:t>891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A6B8216-E299-4EAB-8B9F-589358A3792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375150" y="2130425"/>
            <a:ext cx="5207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1076E10-2DAE-48FA-95ED-C9DD6F102FEF}" type="datetime'''''''''''''1'''''',''''''''''''''2''''''2''''9'''''">
              <a:rPr lang="en-US" altLang="en-US" sz="1600" smtClean="0">
                <a:solidFill>
                  <a:srgbClr val="000000"/>
                </a:solidFill>
              </a:rPr>
              <a:pPr/>
              <a:t>1,229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6EE186F-BB5F-4EAF-A88A-AEB5A371BEC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162675" y="2230438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CF88B0B-C2BC-4EA1-B0C7-93BB2475E9F6}" type="datetime'''''''''''''4''''''''''''''''''''2''''''''''''''1'''''">
              <a:rPr lang="en-US" altLang="en-US" sz="1600" smtClean="0">
                <a:solidFill>
                  <a:srgbClr val="000000"/>
                </a:solidFill>
              </a:rPr>
              <a:pPr/>
              <a:t>421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681E8D67-27B0-4E15-AF62-DEAEB7CB4190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874000" y="2257425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BF41FA6-AE5B-4936-B48B-4C5726378918}" type="datetime'''2''''''''''''1''''''''''''''''''''''9'''''''''''">
              <a:rPr lang="en-US" altLang="en-US" sz="1600" smtClean="0">
                <a:solidFill>
                  <a:srgbClr val="000000"/>
                </a:solidFill>
              </a:rPr>
              <a:pPr/>
              <a:t>219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9507538" y="1189038"/>
            <a:ext cx="5207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777F14-DD6D-4E21-AF82-FD6EF6F1FFDB}" type="datetime'8'''''''''''''''''',''7''''''''''''''''''81'''">
              <a:rPr lang="en-US" altLang="en-US" sz="1600" smtClean="0">
                <a:solidFill>
                  <a:srgbClr val="000000"/>
                </a:solidFill>
              </a:rPr>
              <a:pPr/>
              <a:t>8,781</a:t>
            </a:fld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5855103-CEC9-4934-B104-B5A4B15FB412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10837863" y="2155825"/>
            <a:ext cx="214313" cy="160338"/>
          </a:xfrm>
          <a:prstGeom prst="rect">
            <a:avLst/>
          </a:prstGeom>
          <a:solidFill>
            <a:srgbClr val="0080F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E9C13DC-DE9E-4632-8EDD-2F91129E396A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10837863" y="2379663"/>
            <a:ext cx="214313" cy="160338"/>
          </a:xfrm>
          <a:prstGeom prst="rect">
            <a:avLst/>
          </a:prstGeom>
          <a:solidFill>
            <a:srgbClr val="1E50A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BC961C43-C01C-42D2-B2E1-E4BB6B4CA50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1102975" y="2163763"/>
            <a:ext cx="484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3610696-FE9A-4EA4-880C-EAB967A70CD4}" type="datetime'''I''''''''''''''''''''''m''''''p''or''''''t''''s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Imports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3EBF92AB-6E09-4029-856A-C9FB9352F7C5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1102975" y="2387600"/>
            <a:ext cx="1039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D0FAF896-96C1-451F-8CC8-15A83D361F84}" type="datetime'''Do''''''''m''''''es''t''ic'''''' ''S''o''''''u''r''''c''e'">
              <a:rPr lang="en-US" altLang="en-US" sz="12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Domestic Source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FFC23322-76D5-471B-8F12-E6EC9915643B}"/>
              </a:ext>
            </a:extLst>
          </p:cNvPr>
          <p:cNvSpPr>
            <a:spLocks/>
          </p:cNvSpPr>
          <p:nvPr/>
        </p:nvSpPr>
        <p:spPr>
          <a:xfrm>
            <a:off x="2371725" y="3114675"/>
            <a:ext cx="1068388" cy="346075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white"/>
                </a:solidFill>
                <a:latin typeface="Calibri" panose="020F0502020204030204"/>
              </a:rPr>
              <a:t>99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FE5B3B03-84A8-4B4E-89C3-6BE77FEFCB93}"/>
              </a:ext>
            </a:extLst>
          </p:cNvPr>
          <p:cNvSpPr>
            <a:spLocks/>
          </p:cNvSpPr>
          <p:nvPr/>
        </p:nvSpPr>
        <p:spPr>
          <a:xfrm>
            <a:off x="4086225" y="3114675"/>
            <a:ext cx="1069975" cy="346075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8%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B6E6890-22F0-45C4-B3DB-6FB29DCEE77C}"/>
              </a:ext>
            </a:extLst>
          </p:cNvPr>
          <p:cNvSpPr>
            <a:spLocks/>
          </p:cNvSpPr>
          <p:nvPr/>
        </p:nvSpPr>
        <p:spPr>
          <a:xfrm>
            <a:off x="5800725" y="3114675"/>
            <a:ext cx="1068388" cy="346075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white"/>
                </a:solidFill>
                <a:latin typeface="Calibri" panose="020F0502020204030204"/>
              </a:rPr>
              <a:t>97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A87E86E0-6ACF-4726-B769-D6B7EC4D8DEE}"/>
              </a:ext>
            </a:extLst>
          </p:cNvPr>
          <p:cNvSpPr>
            <a:spLocks/>
          </p:cNvSpPr>
          <p:nvPr/>
        </p:nvSpPr>
        <p:spPr>
          <a:xfrm>
            <a:off x="7500938" y="3114675"/>
            <a:ext cx="1068388" cy="346075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%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4CBF46B-5DF5-4886-8A28-7F0C227F771B}"/>
              </a:ext>
            </a:extLst>
          </p:cNvPr>
          <p:cNvSpPr/>
          <p:nvPr/>
        </p:nvSpPr>
        <p:spPr>
          <a:xfrm>
            <a:off x="9229724" y="3149372"/>
            <a:ext cx="230346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E5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% Share of Domestic Sourc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831E574-41BA-457A-A262-A0A76C827FD5}"/>
              </a:ext>
            </a:extLst>
          </p:cNvPr>
          <p:cNvSpPr/>
          <p:nvPr/>
        </p:nvSpPr>
        <p:spPr>
          <a:xfrm>
            <a:off x="450672" y="1082903"/>
            <a:ext cx="335632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E5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Source of Procurement: Domestic vs Imports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D860678-BEA3-4A07-8688-FD34D6C7465A}"/>
              </a:ext>
            </a:extLst>
          </p:cNvPr>
          <p:cNvCxnSpPr>
            <a:cxnSpLocks/>
          </p:cNvCxnSpPr>
          <p:nvPr/>
        </p:nvCxnSpPr>
        <p:spPr>
          <a:xfrm flipV="1">
            <a:off x="260473" y="3768726"/>
            <a:ext cx="11340000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F7E8282A-9EA8-497A-A612-AE23BB7E6EF5}"/>
              </a:ext>
            </a:extLst>
          </p:cNvPr>
          <p:cNvSpPr/>
          <p:nvPr/>
        </p:nvSpPr>
        <p:spPr>
          <a:xfrm>
            <a:off x="450672" y="4004784"/>
            <a:ext cx="3356329" cy="215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E5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Domestics Sales vs Exports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2C846C31-0D9D-1721-4B0C-1D8B535E1195}"/>
              </a:ext>
            </a:extLst>
          </p:cNvPr>
          <p:cNvSpPr>
            <a:spLocks/>
          </p:cNvSpPr>
          <p:nvPr/>
        </p:nvSpPr>
        <p:spPr>
          <a:xfrm>
            <a:off x="678656" y="6006899"/>
            <a:ext cx="1068388" cy="346075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white"/>
                </a:solidFill>
                <a:latin typeface="Calibri" panose="020F0502020204030204"/>
              </a:rPr>
              <a:t>69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962B3AAB-DF47-01B0-B645-B0E26AB454CE}"/>
              </a:ext>
            </a:extLst>
          </p:cNvPr>
          <p:cNvSpPr>
            <a:spLocks/>
          </p:cNvSpPr>
          <p:nvPr/>
        </p:nvSpPr>
        <p:spPr>
          <a:xfrm>
            <a:off x="2272334" y="6010275"/>
            <a:ext cx="1068388" cy="346075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%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DEE70453-3E3D-5249-433A-39F09D184BFD}"/>
              </a:ext>
            </a:extLst>
          </p:cNvPr>
          <p:cNvSpPr>
            <a:spLocks/>
          </p:cNvSpPr>
          <p:nvPr/>
        </p:nvSpPr>
        <p:spPr>
          <a:xfrm>
            <a:off x="3988042" y="6023594"/>
            <a:ext cx="1068388" cy="346075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white"/>
                </a:solidFill>
                <a:latin typeface="Calibri" panose="020F0502020204030204"/>
              </a:rPr>
              <a:t>14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</a:t>
            </a: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C4594F28-469D-6044-E7DB-9EE21EA311EA}"/>
              </a:ext>
            </a:extLst>
          </p:cNvPr>
          <p:cNvSpPr>
            <a:spLocks/>
          </p:cNvSpPr>
          <p:nvPr/>
        </p:nvSpPr>
        <p:spPr>
          <a:xfrm>
            <a:off x="5731153" y="6036779"/>
            <a:ext cx="1068388" cy="346075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%</a:t>
            </a: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7F9A60DC-6971-A20E-8C65-14EED628D069}"/>
              </a:ext>
            </a:extLst>
          </p:cNvPr>
          <p:cNvSpPr>
            <a:spLocks/>
          </p:cNvSpPr>
          <p:nvPr/>
        </p:nvSpPr>
        <p:spPr>
          <a:xfrm>
            <a:off x="7602711" y="6006899"/>
            <a:ext cx="1068388" cy="346075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white"/>
                </a:solidFill>
                <a:latin typeface="Calibri" panose="020F0502020204030204"/>
              </a:rPr>
              <a:t>2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8BBDFFED-66E0-211C-CA39-D1217060E8B8}"/>
              </a:ext>
            </a:extLst>
          </p:cNvPr>
          <p:cNvSpPr/>
          <p:nvPr/>
        </p:nvSpPr>
        <p:spPr>
          <a:xfrm>
            <a:off x="9342369" y="6058226"/>
            <a:ext cx="160813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E5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% Share </a:t>
            </a:r>
            <a:r>
              <a:rPr lang="en-US" sz="1400" b="1" dirty="0">
                <a:solidFill>
                  <a:srgbClr val="1E50A0"/>
                </a:solidFill>
                <a:latin typeface="Calibri" panose="020F0502020204030204"/>
                <a:sym typeface="Trebuchet MS" panose="020B0603020202020204" pitchFamily="34" charset="0"/>
              </a:rPr>
              <a:t>in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E5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Total Sales</a:t>
            </a: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A2BAC9CD-6824-440B-8E7F-FC8F70F0D776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1719263" y="5145088"/>
            <a:ext cx="6429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30C65128-B3AA-40B7-A816-2AEB1D0898F7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3433763" y="5087938"/>
            <a:ext cx="6429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4BDEDA77-6F9D-4BF1-8DEA-55F84A44277F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5148263" y="5006975"/>
            <a:ext cx="6429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66E94AA3-9A52-48D8-8B14-716DFFC70DDA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>
            <a:off x="6862763" y="4979988"/>
            <a:ext cx="6429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100DFBA5-A197-4F2D-A650-696EC068F2A6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8577263" y="4965700"/>
            <a:ext cx="6429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DF0206BC-A573-A383-9058-D278CD394889}"/>
              </a:ext>
            </a:extLst>
          </p:cNvPr>
          <p:cNvGraphicFramePr/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268619578"/>
              </p:ext>
            </p:extLst>
          </p:nvPr>
        </p:nvGraphicFramePr>
        <p:xfrm>
          <a:off x="244475" y="4311650"/>
          <a:ext cx="10452100" cy="130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5"/>
          </a:graphicData>
        </a:graphic>
      </p:graphicFrame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F608B748-04E5-4FC3-A269-6D75394F44B6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000125" y="5057775"/>
            <a:ext cx="366713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AE77756-FC0D-47A9-9AAB-9DC986CD2C5F}" type="datetime'''''''''''''6''''''''''''''''''''''''''''''90''''''''''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690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478A646D-E486-4D26-A928-AF3C95460E20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92113" y="5588000"/>
            <a:ext cx="15827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B6C6D27A-2986-4723-ADEE-2531F50B28E2}" type="datetime'''''E''a''rth'' Mo''''vi''ng'''''' Eq''''u''ipm''e''n''t'' '">
              <a:rPr lang="en-US" altLang="en-US" sz="1200" smtClean="0">
                <a:solidFill>
                  <a:srgbClr val="000000"/>
                </a:solidFill>
              </a:rPr>
              <a:pPr/>
              <a:t>Earth Moving Equipment 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CAAF6531-C3AF-4D89-B010-D2188B2DE5D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3033713" y="4978400"/>
            <a:ext cx="263525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3EE4F51-94BE-43C3-9447-BBD1E1436543}" type="datetime'''''''''''''''''1''''''''''5''''''''''''''''''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15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447926" y="5006975"/>
            <a:ext cx="366713" cy="219075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AA00AC-184B-4A51-AEDB-E119CBFF04C0}" type="datetime'''''''''''''''''''''''8''7''''''6'''''''''''''''''">
              <a:rPr lang="en-US" altLang="en-US" sz="1600" smtClean="0">
                <a:solidFill>
                  <a:schemeClr val="bg1"/>
                </a:solidFill>
                <a:effectLst/>
              </a:rPr>
              <a:pPr/>
              <a:t>876</a:t>
            </a:fld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067A1CA2-B5B8-42F6-9849-7D447B545122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2259013" y="5588000"/>
            <a:ext cx="12779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BEC63ED-9D37-4DD7-BA4A-49A3D4A2D7CC}" type="datetime'Con''c''r''''e''te'''' E''''''''q''''u''ipm''ent'">
              <a:rPr lang="en-US" altLang="en-US" sz="12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Concrete Equipment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0A194429-2E64-495E-BAFB-D6309F55024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4748213" y="4897438"/>
            <a:ext cx="263525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958FC6B-AF53-47C9-8567-DE1A2355BB7D}" type="datetime'''''''2''''''''''''''''''''''''''3''''''''''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23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BBCB61A9-7E73-4264-9A1C-C36316121B44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084638" y="4938713"/>
            <a:ext cx="520700" cy="219075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D4CE2FC-BFB1-418C-B581-C6E3C9070F80}" type="datetime'''1'''''''',''2''''''''''''''''''''''''''0''''6''''''''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1,206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474E4B15-7867-4A24-91C9-F090C6A82C94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4052888" y="5588000"/>
            <a:ext cx="11176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D1BECF7-7F97-4199-ABF7-5D06F9FD888C}" type="datetime'''''''''''Ma''ter''''''ia''l Handl''''i''ng Eq''''uip''''ment'">
              <a:rPr lang="en-US" altLang="en-US" sz="12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Material Handling Equipment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92A9BF00-2A8F-4C4B-919F-711BB6A78A06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462713" y="4872038"/>
            <a:ext cx="263525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F266AB0-17F0-437E-B871-7E1B5ADA7E54}" type="datetime'''''''''''''''''''6''''''''''''''''''''''''''''1''''''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61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6F72B799-CDE2-4A29-86EF-A5BA19C1E3E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876925" y="4884738"/>
            <a:ext cx="366713" cy="219075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393C7AF-F1D2-44D3-AF2C-3B1651460AEF}" type="datetime'''''''''''''''''''''''''''''3''''6''''0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360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A80B8E41-1C38-4F16-974F-6EBB35772915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5749925" y="5588000"/>
            <a:ext cx="115411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9E1643F-4A98-4D71-98E1-8F59763E8293}" type="datetime'''R''oa''d Co''''nst''r''uct''io''''n Equipm''''en''''t'">
              <a:rPr lang="en-US" altLang="en-US" sz="12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Road Construction Equipment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67FF8FD0-5B39-45A1-A20C-3A6FA1F6C010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8177213" y="4857750"/>
            <a:ext cx="263525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D64ECE0-35E8-4D93-B5DB-CE51743EE9F6}" type="datetime'3''''''''''''''''''''''''''''''''8''''''''''''''''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38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A8B0B49E-D68D-4EA2-84D5-0F552C6DB709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591425" y="4864100"/>
            <a:ext cx="366713" cy="219075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4BA7F10-970F-4002-B159-B650EC2B517F}" type="datetime'''''''1''''''''''''''''''''''''''''8''''1''''''''''''''''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181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4B30740D-D88E-4D4D-B626-6663FE57D86F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7427913" y="5588000"/>
            <a:ext cx="12271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3E46317-CB13-4E1D-91C9-4865CB5F02F2}" type="datetime'''''Materi''al'' Pro''c''es''''si''ng E''q''''ui''''pme''''nt'">
              <a:rPr lang="en-US" altLang="en-US" sz="12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Material Processing Equipment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D383A45D-6A2B-43CE-8512-D035A0F74024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9572625" y="4311650"/>
            <a:ext cx="366713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C95C85F-0E80-41A8-91AC-56B4429DE6C8}" type="datetime'''''''''''''''''''''''''''''''8''''''''2''7''''''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827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CF9CDCB1-39AB-4939-BDDC-11EE4BF30AF0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9599613" y="5588000"/>
            <a:ext cx="3111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5913480-BB4B-4CCE-B727-91025D388964}" type="datetime'''''T''''''o''''''''''''''t''''''''''''''''''''a''l'''">
              <a:rPr lang="en-US" altLang="en-US" sz="1200" smtClean="0">
                <a:solidFill>
                  <a:srgbClr val="000000"/>
                </a:solidFill>
              </a:rPr>
              <a:pPr/>
              <a:t>Total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87B33632-E684-4788-9BBE-B011BB3FA1FC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922338" y="4838700"/>
            <a:ext cx="5207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FB83D5D-8E0B-443F-8C68-1083F8E72E95}" type="datetime'''6'''',''''''0''''''''''''2''1'''''''''''''''''''''">
              <a:rPr lang="en-US" altLang="en-US" sz="1600" smtClean="0">
                <a:solidFill>
                  <a:srgbClr val="000000"/>
                </a:solidFill>
              </a:rPr>
              <a:pPr/>
              <a:t>6,021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780C3B6C-8F94-4516-9C47-DD326CEF89E0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2714626" y="4759325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C21C2B1A-390C-4BEB-9C53-F9631848F3F1}" type="datetime'''''''''''''''8''''''''9''''''''''''1'">
              <a:rPr lang="en-US" altLang="en-US" sz="1600" smtClean="0">
                <a:solidFill>
                  <a:srgbClr val="000000"/>
                </a:solidFill>
              </a:rPr>
              <a:pPr/>
              <a:t>891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DD67C909-6C68-42D1-9933-AE9090302D65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4351338" y="4678363"/>
            <a:ext cx="5207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68ED92BA-4625-4FFB-998E-0503C72E2A11}" type="datetime'''''''1,''''''''''''''''''''''''2''''''''29'''''''''''''''">
              <a:rPr lang="en-US" altLang="en-US" sz="1600" smtClean="0">
                <a:solidFill>
                  <a:srgbClr val="000000"/>
                </a:solidFill>
              </a:rPr>
              <a:pPr/>
              <a:t>1,229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9D163A00-9380-45FB-B277-336990EA93DE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6143625" y="4652963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D3E866C-4B5D-4B28-96AA-3E614F5B5E2B}" type="datetime'''''4''2''''''''1'''''''''''''''''''''''''''''''''''''">
              <a:rPr lang="en-US" altLang="en-US" sz="1600" smtClean="0">
                <a:solidFill>
                  <a:srgbClr val="000000"/>
                </a:solidFill>
              </a:rPr>
              <a:pPr/>
              <a:t>421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B7EBC252-6514-402C-A5A5-915898F17E97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7858125" y="4638675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7BBF2ED-059D-463C-98AD-99DAE31390D1}" type="datetime'''''2''''''''''1''''9'''''''''''''''''''''''">
              <a:rPr lang="en-US" altLang="en-US" sz="1600" smtClean="0">
                <a:solidFill>
                  <a:srgbClr val="000000"/>
                </a:solidFill>
              </a:rPr>
              <a:pPr/>
              <a:t>219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98B3B2AA-C2BF-4741-8CB2-DD75107B42F2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9494838" y="4092575"/>
            <a:ext cx="5207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C3E7AC5D-CAB7-436C-91CA-2659F07810B1}" type="datetime'''8'''''''''''''',''''''''78''''''''''''''''''''1'''''">
              <a:rPr lang="en-US" altLang="en-US" sz="1600" smtClean="0">
                <a:solidFill>
                  <a:srgbClr val="000000"/>
                </a:solidFill>
              </a:rPr>
              <a:pPr/>
              <a:t>8,781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E860059A-FB11-4FE6-BDD9-C6183553BAA7}"/>
              </a:ext>
            </a:extLst>
          </p:cNvPr>
          <p:cNvSpPr/>
          <p:nvPr>
            <p:custDataLst>
              <p:tags r:id="rId57"/>
            </p:custDataLst>
          </p:nvPr>
        </p:nvSpPr>
        <p:spPr bwMode="gray">
          <a:xfrm>
            <a:off x="10674350" y="5080000"/>
            <a:ext cx="214313" cy="160338"/>
          </a:xfrm>
          <a:prstGeom prst="rect">
            <a:avLst/>
          </a:prstGeom>
          <a:solidFill>
            <a:srgbClr val="0080F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9880C134-2706-46F1-B666-BCFB49BC4453}"/>
              </a:ext>
            </a:extLst>
          </p:cNvPr>
          <p:cNvSpPr/>
          <p:nvPr>
            <p:custDataLst>
              <p:tags r:id="rId58"/>
            </p:custDataLst>
          </p:nvPr>
        </p:nvSpPr>
        <p:spPr bwMode="gray">
          <a:xfrm>
            <a:off x="10674350" y="5303838"/>
            <a:ext cx="214313" cy="160338"/>
          </a:xfrm>
          <a:prstGeom prst="rect">
            <a:avLst/>
          </a:prstGeom>
          <a:solidFill>
            <a:srgbClr val="2959A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338D7D87-ECF4-449E-A952-D4D904047358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10939463" y="5087938"/>
            <a:ext cx="4651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15EAE0C7-5E2D-4AEB-9B75-8A131E552E07}" type="datetime'''Ex''p''''''''''''''''''''''''''o''''''''''''''r''t''''s'">
              <a:rPr lang="en-US" altLang="en-US" sz="12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Exports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D7B53002-3D03-4B85-8FF9-EC43C85A1401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10939463" y="5311775"/>
            <a:ext cx="9318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2A58D841-7909-4B56-9A2C-96EDA3AA51D5}" type="datetime'''D''''''o''m''''e''s''tic'' S''a''''''l''''e''''''''''''s'''">
              <a:rPr lang="en-US" altLang="en-US" sz="12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Domestic Sales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332952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>
            <a:extLst>
              <a:ext uri="{FF2B5EF4-FFF2-40B4-BE49-F238E27FC236}">
                <a16:creationId xmlns:a16="http://schemas.microsoft.com/office/drawing/2014/main" id="{3099648D-7D48-414B-8E49-712CA1F297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2427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0" imgW="395" imgH="396" progId="TCLayout.ActiveDocument.1">
                  <p:embed/>
                </p:oleObj>
              </mc:Choice>
              <mc:Fallback>
                <p:oleObj name="think-cell Slide" r:id="rId100" imgW="395" imgH="396" progId="TCLayout.ActiveDocument.1">
                  <p:embed/>
                  <p:pic>
                    <p:nvPicPr>
                      <p:cNvPr id="45" name="Object 44" hidden="1">
                        <a:extLst>
                          <a:ext uri="{FF2B5EF4-FFF2-40B4-BE49-F238E27FC236}">
                            <a16:creationId xmlns:a16="http://schemas.microsoft.com/office/drawing/2014/main" id="{3099648D-7D48-414B-8E49-712CA1F297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B741A13-4F9B-4CEB-9613-F182955736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158" y="162413"/>
            <a:ext cx="10933350" cy="332399"/>
          </a:xfrm>
        </p:spPr>
        <p:txBody>
          <a:bodyPr vert="horz"/>
          <a:lstStyle/>
          <a:p>
            <a:r>
              <a:rPr lang="en-US" dirty="0">
                <a:solidFill>
                  <a:schemeClr val="bg1"/>
                </a:solidFill>
              </a:rPr>
              <a:t>Sub-category wise sales composition (I/II)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80ED94A-808F-465C-9250-8B6F00A85F8D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4592638" y="2338388"/>
            <a:ext cx="449263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5139036-199D-479B-804F-0E27D4593D3D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2189163" y="2640013"/>
            <a:ext cx="449263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839B9D1-D354-AC66-A473-75F5EA711DB5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3390900" y="2376488"/>
            <a:ext cx="449263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422D8BA-70CE-4299-84C2-D12783E6F7A9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9399588" y="2295525"/>
            <a:ext cx="449263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9EC2495-2ADA-4D4D-80C2-19330FBE0B16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8197850" y="2300288"/>
            <a:ext cx="449263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E70EDA2-EBFA-4E1A-95E8-C7DCC01EF081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6996113" y="2320925"/>
            <a:ext cx="449263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4EC2E22-B212-4792-BA97-9DA453740A4F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5794375" y="2328863"/>
            <a:ext cx="449263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2B21C764-250E-7ABF-D578-CCAC8C5FB0B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6243638" y="2320925"/>
            <a:ext cx="752475" cy="7938"/>
          </a:xfrm>
          <a:prstGeom prst="rect">
            <a:avLst/>
          </a:prstGeom>
          <a:solidFill>
            <a:srgbClr val="2959A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93D6597-907A-F78F-BBCC-25B4A9F43DB7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5041900" y="2328863"/>
            <a:ext cx="752475" cy="9525"/>
          </a:xfrm>
          <a:prstGeom prst="rect">
            <a:avLst/>
          </a:prstGeom>
          <a:solidFill>
            <a:srgbClr val="2959A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1A6E245-B4FD-1C36-C289-BD62FAAFA34F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8647113" y="2295526"/>
            <a:ext cx="752475" cy="4763"/>
          </a:xfrm>
          <a:prstGeom prst="rect">
            <a:avLst/>
          </a:prstGeom>
          <a:solidFill>
            <a:srgbClr val="2959A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62D177A5-086B-B30C-EE6F-8F3C4EFE26F0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680508775"/>
              </p:ext>
            </p:extLst>
          </p:nvPr>
        </p:nvGraphicFramePr>
        <p:xfrm>
          <a:off x="1130300" y="1444625"/>
          <a:ext cx="9779000" cy="1700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2"/>
          </a:graphicData>
        </a:graphic>
      </p:graphicFrame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E2B085B-93B8-4407-98AC-B3AC74DFDED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312863" y="3113088"/>
            <a:ext cx="10001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FAF4B9-27BC-4691-8F46-AB03CE6229E8}" type="datetime'B''''a''''''c''''kh''oe ''''''''''L''o''a''''''d''''e''''r'">
              <a:rPr lang="en-US" altLang="en-US" sz="1200" smtClean="0"/>
              <a:pPr/>
              <a:t>Backhoe Loader</a:t>
            </a:fld>
            <a:endParaRPr lang="en-US" sz="1200" dirty="0"/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065463" y="2300288"/>
            <a:ext cx="277813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95FE81-1B65-457F-9867-8C506007F899}" type="datetime'''''''''''''''''''11''''3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13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A439991-2ABE-4553-A1BB-1328E3644D0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428875" y="3113088"/>
            <a:ext cx="11731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81AB54-906D-47B9-B397-42E6B867C339}" type="datetime'''''Cr''''''aw''l''''e''r'' ''E''''x''c''''''''a''vators'">
              <a:rPr lang="en-US" altLang="en-US" sz="1200" smtClean="0"/>
              <a:pPr/>
              <a:t>Crawler Excavators</a:t>
            </a:fld>
            <a:endParaRPr lang="en-US" sz="1200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71620E4E-8C4B-471E-B59B-BD6D0B3FCCA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546725" y="2246313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5FBCF9-2D1F-4BD5-978F-586B01BDC820}" type="datetime'''''''''''''''''''''''0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130800" y="2251075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D76E24-7654-4BBA-A20D-8AAE4739599C}" type="datetime'''''''8''''''''''''''''''''''2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82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119DF8F-E5F7-453D-B9D0-B482D0EE00E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956175" y="3113088"/>
            <a:ext cx="9255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F5E4A1-F452-4157-ACB9-A9F7D8AB7B5C}" type="datetime'''M''''''''''o''t''''o''''''''r'''''' ''Grad''''''e''rs'''''">
              <a:rPr lang="en-US" altLang="en-US" sz="1200" smtClean="0"/>
              <a:pPr/>
              <a:t>Motor Graders</a:t>
            </a:fld>
            <a:endParaRPr lang="en-US" sz="120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EC4FAA53-9CCB-4609-AAE8-5DE14574A4DF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708775" y="2239963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94F6E0-067E-4C8A-9E40-CA1386AC16BA}" type="datetime'''''''''''22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22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332538" y="2243138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6F6C07-38CF-499C-9AE8-38869B5B2C7E}" type="datetime'''''''''''''''''''''''''''''''''''3''''''''''''5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35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EE02A1D-624D-4106-A832-0137C3CC6618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053138" y="3113088"/>
            <a:ext cx="11334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8EFF27-84D8-4E08-A576-1C192DD3FF25}" type="datetime'''O''f''''''''''''''''''''f ''''H''igh''''''wa''''y ''Tru''ck'">
              <a:rPr lang="en-US" altLang="en-US" sz="1200" smtClean="0"/>
              <a:pPr/>
              <a:t>Off Highway Truck</a:t>
            </a:fld>
            <a:endParaRPr lang="en-US" sz="1200" dirty="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88940C84-140A-4EC2-B72C-8C516C47277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872413" y="2224088"/>
            <a:ext cx="277813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57A131-1B9A-438B-B57B-DBD847888CA9}" type="datetime'''''10''''''''''''''''''''''''8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08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CBBCD2A6-D835-4C87-919C-B6273DD6F610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069513" y="3113088"/>
            <a:ext cx="3111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E2ACCC-C735-4E1E-BF63-7DB154F966D8}" type="datetime'''''''''''''''''''''''T''''''''o''''''t''''''al'''''">
              <a:rPr lang="en-US" altLang="en-US" sz="1200" smtClean="0"/>
              <a:pPr/>
              <a:t>Total</a:t>
            </a:fld>
            <a:endParaRPr lang="en-US" sz="1200" dirty="0"/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0086975" y="1487488"/>
            <a:ext cx="277813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EAAD7D6-6A27-4010-BE67-3C55AEB25771}" type="datetime'6''''''''''''9''''''''''''''''''''''0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69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439C0E84-7B49-42CB-9C62-FE1B09278DD1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428038" y="3113088"/>
            <a:ext cx="11906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60D3282-C9FD-42DD-8FDF-6AA262B4B93A}" type="datetime'T''''''''r''''ack ''Type'''''' ''Tra''''''''c''t''''''''or''s'">
              <a:rPr lang="en-US" altLang="en-US" sz="1200" smtClean="0"/>
              <a:pPr/>
              <a:t>Track Type Tractors</a:t>
            </a:fld>
            <a:endParaRPr lang="en-US" sz="1200" dirty="0"/>
          </a:p>
        </p:txBody>
      </p:sp>
      <p:sp>
        <p:nvSpPr>
          <p:cNvPr id="134" name="Text Placeholder 2">
            <a:extLst>
              <a:ext uri="{FF2B5EF4-FFF2-40B4-BE49-F238E27FC236}">
                <a16:creationId xmlns:a16="http://schemas.microsoft.com/office/drawing/2014/main" id="{15381F49-73F7-43E1-9C53-69954C24AE7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8736013" y="2214563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D32F83-FADA-43B6-93C4-76A0FE12E9D5}" type="datetime'''''''''''''''''''''''''''''''''4''7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47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616075" y="2420938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1D7291-9AA0-4BE3-AA03-000A5FE5061B}" type="datetime'''3'''''''''''''''''',3''''''''09'''''''''">
              <a:rPr lang="en-US" altLang="en-US" sz="1200" smtClean="0"/>
              <a:pPr/>
              <a:t>3,309</a:t>
            </a:fld>
            <a:endParaRPr lang="en-US" sz="1200" dirty="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817813" y="2135188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E17C0A-482C-4766-9B4E-5193B6CECF15}" type="datetime'2'''''''''''''''''''''''''''''''''''''''''',06''''9'''">
              <a:rPr lang="en-US" altLang="en-US" sz="1200" smtClean="0"/>
              <a:pPr/>
              <a:t>2,069</a:t>
            </a:fld>
            <a:endParaRPr lang="en-US" sz="1200" dirty="0"/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318125" y="2081213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609565-5BD6-44A7-9DAB-2A281D174C11}" type="datetime'''''''''8''''2'''''''''''''''''''''''''''''''''">
              <a:rPr lang="en-US" altLang="en-US" sz="1200" smtClean="0"/>
              <a:pPr/>
              <a:t>82</a:t>
            </a:fld>
            <a:endParaRPr lang="en-US" sz="1200" dirty="0"/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519863" y="2074863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A0DEB4-C9E4-4F5B-B347-9A0D81BDF1A0}" type="datetime'''''''''''''''''''''5''''''''''''''''''''''''7'">
              <a:rPr lang="en-US" altLang="en-US" sz="1200" smtClean="0"/>
              <a:pPr/>
              <a:t>57</a:t>
            </a:fld>
            <a:endParaRPr lang="en-US" sz="1200" dirty="0"/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683500" y="2058988"/>
            <a:ext cx="277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DC30CF-7C51-4EF0-A4EE-3EF3AC5BE2E5}" type="datetime'''1''''''''''5''''''''''9'''''''">
              <a:rPr lang="en-US" altLang="en-US" sz="1200" smtClean="0"/>
              <a:pPr/>
              <a:t>159</a:t>
            </a:fld>
            <a:endParaRPr lang="en-US" sz="1200" dirty="0"/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48490D21-E899-4675-AD04-7D9CB091D33E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8923338" y="2047875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4D2C6B-273E-4B40-B099-73BC7F754E89}" type="datetime'''''''''''''''''''''''''''''''''''''''''''''''''''''''4''7'''">
              <a:rPr lang="en-US" altLang="en-US" sz="1200" smtClean="0"/>
              <a:pPr/>
              <a:t>47</a:t>
            </a:fld>
            <a:endParaRPr lang="en-US" sz="1200" dirty="0"/>
          </a:p>
        </p:txBody>
      </p:sp>
      <p:sp>
        <p:nvSpPr>
          <p:cNvPr id="17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0028238" y="1322388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4C8B55-A375-45C4-9687-DF6EB2E91C66}" type="datetime'''''''''''''''''''''6'''',''0''''''''''''''''2''1'''''''''''">
              <a:rPr lang="en-US" altLang="en-US" sz="1200" smtClean="0"/>
              <a:pPr/>
              <a:t>6,021</a:t>
            </a:fld>
            <a:endParaRPr lang="en-US" sz="1200" dirty="0"/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072DD45B-95AC-4C95-AE43-E6A729CC056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9151938" y="2212975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74AFBF-5794-46F4-8411-265D79732F80}" type="datetime'0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C8FE4D8A-7A10-4023-BD3F-FDCA288D2062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250113" y="3113088"/>
            <a:ext cx="11430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DD2EA1-9E0B-4EC1-8D63-F78884F2ADF2}" type="datetime'''''Sk''i''''''''d'' S''''''t''''eer ''''Lo''a''d''ers'">
              <a:rPr lang="en-US" altLang="en-US" sz="1200" smtClean="0"/>
              <a:pPr/>
              <a:t>Skid Steer Loaders</a:t>
            </a:fld>
            <a:endParaRPr lang="en-US" sz="1200" dirty="0"/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7534275" y="2235200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047D3E-E6B8-4F89-A171-D81C02696709}" type="datetime'''5''''''''''''''''''''1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5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7B03497-51D7-5E33-6FDA-C4E4CB8B7C2B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3751263" y="3113088"/>
            <a:ext cx="9318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631E17-F647-4DCF-AFCD-7E1243A07309}" type="datetime'''''''W''''h''eel'''''''''''''''''' L''''''''o''ad''''e''''rs'">
              <a:rPr lang="en-US" altLang="en-US" sz="1200" smtClean="0"/>
              <a:pPr/>
              <a:t>Wheel Loaders</a:t>
            </a:fld>
            <a:endParaRPr lang="en-US" sz="1200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6CF46273-656C-37EC-32FB-EB90BF4D1231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078289" y="2090738"/>
            <a:ext cx="277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AE0546-7876-4ED6-8D0C-84B1F58608A0}" type="datetime'''''''''''''2''''''9''''''''''''8'''''''''''''''''">
              <a:rPr lang="en-US" altLang="en-US" sz="1200" smtClean="0"/>
              <a:pPr/>
              <a:t>298</a:t>
            </a:fld>
            <a:endParaRPr lang="en-US" sz="1200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0AC816E0-1021-69EF-946E-2D274102579D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4344988" y="2255838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D2462C-5129-439B-93DE-941D5A3D58D5}" type="datetime'''''''''''3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3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3890963" y="2274888"/>
            <a:ext cx="277813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A5CA416-5BB8-4A79-A733-780FD5970FD6}" type="datetime'''2''''''''''''''''9''''''''''''5'''''''''''''''''''''''">
              <a:rPr lang="en-US" altLang="en-US" sz="12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5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674813" y="2586038"/>
            <a:ext cx="277813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B19967-E10E-45E8-936A-A9A7C88AD054}" type="datetime'''''''''''''''44''''''''''''4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444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017FED5-521B-4C04-BACD-99E61634E0DA}"/>
              </a:ext>
            </a:extLst>
          </p:cNvPr>
          <p:cNvSpPr/>
          <p:nvPr/>
        </p:nvSpPr>
        <p:spPr>
          <a:xfrm>
            <a:off x="404018" y="1583778"/>
            <a:ext cx="468313" cy="1606550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CCAD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1E50A0"/>
                </a:solidFill>
              </a:rPr>
              <a:t>Earthmoving Equipment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F0C3B3D5-0A1F-46CE-A0CD-1F60DAC81548}"/>
              </a:ext>
            </a:extLst>
          </p:cNvPr>
          <p:cNvCxnSpPr>
            <a:cxnSpLocks/>
          </p:cNvCxnSpPr>
          <p:nvPr/>
        </p:nvCxnSpPr>
        <p:spPr>
          <a:xfrm flipV="1">
            <a:off x="264435" y="3902823"/>
            <a:ext cx="11346914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55CF00D8-741C-4832-A286-01B1A89E8A6D}"/>
              </a:ext>
            </a:extLst>
          </p:cNvPr>
          <p:cNvSpPr/>
          <p:nvPr/>
        </p:nvSpPr>
        <p:spPr>
          <a:xfrm>
            <a:off x="1354371" y="3439647"/>
            <a:ext cx="842784" cy="26912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55%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1BA2E019-933A-496E-B805-3E9DEDC71A6C}"/>
              </a:ext>
            </a:extLst>
          </p:cNvPr>
          <p:cNvSpPr/>
          <p:nvPr/>
        </p:nvSpPr>
        <p:spPr>
          <a:xfrm>
            <a:off x="2513342" y="3439274"/>
            <a:ext cx="842784" cy="26912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34%</a:t>
            </a: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AC466D32-6051-4E23-A766-E7678B811F1B}"/>
              </a:ext>
            </a:extLst>
          </p:cNvPr>
          <p:cNvSpPr/>
          <p:nvPr/>
        </p:nvSpPr>
        <p:spPr>
          <a:xfrm>
            <a:off x="3798908" y="3456530"/>
            <a:ext cx="842784" cy="26912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5%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C03E339E-2023-4C5C-8B04-0E159722978B}"/>
              </a:ext>
            </a:extLst>
          </p:cNvPr>
          <p:cNvSpPr/>
          <p:nvPr/>
        </p:nvSpPr>
        <p:spPr>
          <a:xfrm>
            <a:off x="4996745" y="3430559"/>
            <a:ext cx="842784" cy="26912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1%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AACA9244-26A1-4B0B-8877-7E39EEABCA7D}"/>
              </a:ext>
            </a:extLst>
          </p:cNvPr>
          <p:cNvSpPr/>
          <p:nvPr/>
        </p:nvSpPr>
        <p:spPr>
          <a:xfrm>
            <a:off x="6282311" y="3439274"/>
            <a:ext cx="842784" cy="26912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1%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161BE7A5-46DC-4680-AE3D-67FA7F4BAE87}"/>
              </a:ext>
            </a:extLst>
          </p:cNvPr>
          <p:cNvSpPr/>
          <p:nvPr/>
        </p:nvSpPr>
        <p:spPr>
          <a:xfrm>
            <a:off x="7524046" y="3439274"/>
            <a:ext cx="842784" cy="26912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3%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B1D66EF3-6C32-473A-95E6-F2948EC8788F}"/>
              </a:ext>
            </a:extLst>
          </p:cNvPr>
          <p:cNvSpPr txBox="1"/>
          <p:nvPr/>
        </p:nvSpPr>
        <p:spPr>
          <a:xfrm>
            <a:off x="1067509" y="1238250"/>
            <a:ext cx="904968" cy="1682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sym typeface="Trebuchet MS" panose="020B0603020202020204" pitchFamily="34" charset="0"/>
              </a:rPr>
              <a:t>Units sold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9D26B1D2-62C4-4582-88E2-94168A14DA39}"/>
              </a:ext>
            </a:extLst>
          </p:cNvPr>
          <p:cNvSpPr/>
          <p:nvPr/>
        </p:nvSpPr>
        <p:spPr>
          <a:xfrm>
            <a:off x="10464801" y="3429000"/>
            <a:ext cx="1368602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400" b="1" dirty="0">
                <a:solidFill>
                  <a:srgbClr val="1E50A0"/>
                </a:solidFill>
                <a:sym typeface="Trebuchet MS" panose="020B0603020202020204" pitchFamily="34" charset="0"/>
              </a:rPr>
              <a:t>% sales share </a:t>
            </a: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C93EEFFA-5808-475D-B805-DFE28F35B1A2}"/>
              </a:ext>
            </a:extLst>
          </p:cNvPr>
          <p:cNvSpPr/>
          <p:nvPr/>
        </p:nvSpPr>
        <p:spPr>
          <a:xfrm>
            <a:off x="8665643" y="3420579"/>
            <a:ext cx="842784" cy="269127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1%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0D22581-92F5-4498-B068-DD9D5B54FF60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10147300" y="1054100"/>
            <a:ext cx="214313" cy="160338"/>
          </a:xfrm>
          <a:prstGeom prst="rect">
            <a:avLst/>
          </a:prstGeom>
          <a:solidFill>
            <a:srgbClr val="0080F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577182AC-5A12-497B-9555-B4B493AC5D94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10979150" y="1054100"/>
            <a:ext cx="214313" cy="160338"/>
          </a:xfrm>
          <a:prstGeom prst="rect">
            <a:avLst/>
          </a:prstGeom>
          <a:solidFill>
            <a:srgbClr val="2959A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0412412" y="1062038"/>
            <a:ext cx="4651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F0F453-6EEA-4AC8-80D8-406FA0114EF4}" type="datetime'''''''''''''''E''''x''''''p''''''or''ts'''''''''''''''''">
              <a:rPr lang="en-US" altLang="en-US" sz="1200" smtClean="0"/>
              <a:pPr/>
              <a:t>Exports</a:t>
            </a:fld>
            <a:endParaRPr lang="en-US" sz="1200" dirty="0"/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DC63509D-08BF-4F79-BC3C-66868A3F4E33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11244263" y="1062038"/>
            <a:ext cx="5826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5327C76-FF0D-4479-9F30-F301B1B7D1A4}" type="datetime'D''''o''''m''''es''''''''''''''''t''''''''''i''''''c'''''">
              <a:rPr lang="en-US" altLang="en-US" sz="1200" smtClean="0"/>
              <a:pPr/>
              <a:t>Domestic</a:t>
            </a:fld>
            <a:endParaRPr lang="en-US" sz="1200" dirty="0"/>
          </a:p>
        </p:txBody>
      </p: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6DE54DFB-5F83-7E12-CBEB-0DA0360EE6FF}"/>
              </a:ext>
            </a:extLst>
          </p:cNvPr>
          <p:cNvCxnSpPr/>
          <p:nvPr>
            <p:custDataLst>
              <p:tags r:id="rId46"/>
            </p:custDataLst>
          </p:nvPr>
        </p:nvCxnSpPr>
        <p:spPr bwMode="gray">
          <a:xfrm>
            <a:off x="2014538" y="5005388"/>
            <a:ext cx="384175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77B94187-2476-35D8-521D-228013048608}"/>
              </a:ext>
            </a:extLst>
          </p:cNvPr>
          <p:cNvCxnSpPr/>
          <p:nvPr>
            <p:custDataLst>
              <p:tags r:id="rId47"/>
            </p:custDataLst>
          </p:nvPr>
        </p:nvCxnSpPr>
        <p:spPr bwMode="gray">
          <a:xfrm>
            <a:off x="3040063" y="4983163"/>
            <a:ext cx="384175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D9C131FA-789A-1075-96A1-ABBCD911A13F}"/>
              </a:ext>
            </a:extLst>
          </p:cNvPr>
          <p:cNvCxnSpPr/>
          <p:nvPr>
            <p:custDataLst>
              <p:tags r:id="rId48"/>
            </p:custDataLst>
          </p:nvPr>
        </p:nvCxnSpPr>
        <p:spPr bwMode="gray">
          <a:xfrm>
            <a:off x="4065588" y="4970463"/>
            <a:ext cx="384175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2CBC9555-9EF8-8CBD-6E9E-8089D8F42D5F}"/>
              </a:ext>
            </a:extLst>
          </p:cNvPr>
          <p:cNvCxnSpPr/>
          <p:nvPr>
            <p:custDataLst>
              <p:tags r:id="rId49"/>
            </p:custDataLst>
          </p:nvPr>
        </p:nvCxnSpPr>
        <p:spPr bwMode="gray">
          <a:xfrm>
            <a:off x="5091113" y="4962525"/>
            <a:ext cx="384175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AB09857F-FEA6-61B4-AC72-B135BB4B646C}"/>
              </a:ext>
            </a:extLst>
          </p:cNvPr>
          <p:cNvCxnSpPr/>
          <p:nvPr>
            <p:custDataLst>
              <p:tags r:id="rId50"/>
            </p:custDataLst>
          </p:nvPr>
        </p:nvCxnSpPr>
        <p:spPr bwMode="gray">
          <a:xfrm>
            <a:off x="6116638" y="4938713"/>
            <a:ext cx="38258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9EA12BB6-7BEC-F9EB-2B7B-0EC366009410}"/>
              </a:ext>
            </a:extLst>
          </p:cNvPr>
          <p:cNvCxnSpPr/>
          <p:nvPr>
            <p:custDataLst>
              <p:tags r:id="rId51"/>
            </p:custDataLst>
          </p:nvPr>
        </p:nvCxnSpPr>
        <p:spPr bwMode="gray">
          <a:xfrm>
            <a:off x="7140575" y="4932363"/>
            <a:ext cx="384175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B7ED6103-999D-E650-4B2F-EFE32418D98D}"/>
              </a:ext>
            </a:extLst>
          </p:cNvPr>
          <p:cNvCxnSpPr/>
          <p:nvPr>
            <p:custDataLst>
              <p:tags r:id="rId52"/>
            </p:custDataLst>
          </p:nvPr>
        </p:nvCxnSpPr>
        <p:spPr bwMode="gray">
          <a:xfrm>
            <a:off x="8166100" y="4929188"/>
            <a:ext cx="384175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27438FBA-371E-0A33-B590-8BDAED6A52F8}"/>
              </a:ext>
            </a:extLst>
          </p:cNvPr>
          <p:cNvCxnSpPr/>
          <p:nvPr>
            <p:custDataLst>
              <p:tags r:id="rId53"/>
            </p:custDataLst>
          </p:nvPr>
        </p:nvCxnSpPr>
        <p:spPr bwMode="gray">
          <a:xfrm>
            <a:off x="9191625" y="4926013"/>
            <a:ext cx="384175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A7D8060F-82BB-048C-6010-97754F1BBB80}"/>
              </a:ext>
            </a:extLst>
          </p:cNvPr>
          <p:cNvCxnSpPr/>
          <p:nvPr>
            <p:custDataLst>
              <p:tags r:id="rId54"/>
            </p:custDataLst>
          </p:nvPr>
        </p:nvCxnSpPr>
        <p:spPr bwMode="gray">
          <a:xfrm>
            <a:off x="10217150" y="4926013"/>
            <a:ext cx="384175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1" name="Rectangle 150">
            <a:extLst>
              <a:ext uri="{FF2B5EF4-FFF2-40B4-BE49-F238E27FC236}">
                <a16:creationId xmlns:a16="http://schemas.microsoft.com/office/drawing/2014/main" id="{59AA379D-96B9-85F4-2896-12237C2D8ED9}"/>
              </a:ext>
            </a:extLst>
          </p:cNvPr>
          <p:cNvSpPr/>
          <p:nvPr>
            <p:custDataLst>
              <p:tags r:id="rId55"/>
            </p:custDataLst>
          </p:nvPr>
        </p:nvSpPr>
        <p:spPr bwMode="gray">
          <a:xfrm>
            <a:off x="8550274" y="4926013"/>
            <a:ext cx="641350" cy="3175"/>
          </a:xfrm>
          <a:prstGeom prst="rect">
            <a:avLst/>
          </a:prstGeom>
          <a:solidFill>
            <a:srgbClr val="2959A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D4251C51-95C8-E075-45F1-1C5B05ECFD1E}"/>
              </a:ext>
            </a:extLst>
          </p:cNvPr>
          <p:cNvSpPr/>
          <p:nvPr>
            <p:custDataLst>
              <p:tags r:id="rId56"/>
            </p:custDataLst>
          </p:nvPr>
        </p:nvSpPr>
        <p:spPr bwMode="gray">
          <a:xfrm>
            <a:off x="6499225" y="4932363"/>
            <a:ext cx="641350" cy="6350"/>
          </a:xfrm>
          <a:prstGeom prst="rect">
            <a:avLst/>
          </a:prstGeom>
          <a:solidFill>
            <a:srgbClr val="2959A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DFF9CE29-F6BC-4F5A-6373-4FC1F8798075}"/>
              </a:ext>
            </a:extLst>
          </p:cNvPr>
          <p:cNvSpPr/>
          <p:nvPr>
            <p:custDataLst>
              <p:tags r:id="rId57"/>
            </p:custDataLst>
          </p:nvPr>
        </p:nvSpPr>
        <p:spPr bwMode="gray">
          <a:xfrm>
            <a:off x="7524749" y="4929188"/>
            <a:ext cx="641350" cy="3175"/>
          </a:xfrm>
          <a:prstGeom prst="rect">
            <a:avLst/>
          </a:prstGeom>
          <a:solidFill>
            <a:srgbClr val="2959A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74C8634C-E9CC-1D8F-EF04-0AE150B354E1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9575800" y="4922838"/>
            <a:ext cx="641350" cy="6350"/>
          </a:xfrm>
          <a:prstGeom prst="rect">
            <a:avLst/>
          </a:prstGeom>
          <a:solidFill>
            <a:srgbClr val="2959A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406A5CF-313C-CC69-1DCE-89764FB4A6DE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4449763" y="4962525"/>
            <a:ext cx="641350" cy="7938"/>
          </a:xfrm>
          <a:prstGeom prst="rect">
            <a:avLst/>
          </a:prstGeom>
          <a:solidFill>
            <a:srgbClr val="2959A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6C0DEA03-B579-8715-5809-2593FCDB1886}"/>
              </a:ext>
            </a:extLst>
          </p:cNvPr>
          <p:cNvGraphicFramePr/>
          <p:nvPr>
            <p:custDataLst>
              <p:tags r:id="rId60"/>
            </p:custDataLst>
            <p:extLst>
              <p:ext uri="{D42A27DB-BD31-4B8C-83A1-F6EECF244321}">
                <p14:modId xmlns:p14="http://schemas.microsoft.com/office/powerpoint/2010/main" val="4170677788"/>
              </p:ext>
            </p:extLst>
          </p:nvPr>
        </p:nvGraphicFramePr>
        <p:xfrm>
          <a:off x="1098550" y="4294188"/>
          <a:ext cx="10418763" cy="1262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3"/>
          </a:graphicData>
        </a:graphic>
      </p:graphicFrame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F2BFA972-632B-D079-5BA0-541CF00F0A08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5895975" y="4856163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5D8CD3-3A63-4B6A-95E0-4551DC35E300}" type="datetime'''''''''''''''''''''''''''''''''''''''''0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5C710660-F00B-01B3-DBF9-28198EC7AD15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5535613" y="4867275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40C311-57D1-45BE-B1DC-529717D72647}" type="datetime'''''''''5''''''''''''''''''''''''''''''''''''4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54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BF70832B-191C-AAD3-7E00-29FD7CBB65B4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5421313" y="5524500"/>
            <a:ext cx="7493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377142-50F8-459B-9DBE-F576E61A4B34}" type="datetime'''Fix''e''''''d ''''T''''''''''owe''r'' Cr''''''a''''nes'">
              <a:rPr lang="en-US" altLang="en-US" sz="1200" smtClean="0"/>
              <a:pPr/>
              <a:t>Fixed Tower Cranes</a:t>
            </a:fld>
            <a:endParaRPr lang="en-US" sz="1200" dirty="0"/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48352252-621E-B599-C64F-A201B17AAC5F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6919913" y="4849813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0777693-FE9B-4F3F-9670-565DA99E5563}" type="datetime'''''''''''''0''''''''''''''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02E3FF91-078D-B584-5E15-9C03FAAB9A40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6559550" y="4852988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A6A14C-9B48-48D3-820D-062D76568D5A}" type="datetime'1''''''''''''''''''''''''''''4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4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3734117D-F216-B404-99BB-1DA8D0B0418D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6397625" y="5524500"/>
            <a:ext cx="8445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435D35-533E-47B3-9C33-B64B9DF28A93}" type="datetime'M''o''b''ile'' Tow''''er'''' Cr''an''''''e''s'''''''''''''''">
              <a:rPr lang="en-US" altLang="en-US" sz="1200" smtClean="0"/>
              <a:pPr/>
              <a:t>Mobile Tower Cranes</a:t>
            </a:fld>
            <a:endParaRPr lang="en-US" sz="1200" dirty="0"/>
          </a:p>
        </p:txBody>
      </p:sp>
      <p:sp>
        <p:nvSpPr>
          <p:cNvPr id="187" name="Text Placeholder 2">
            <a:extLst>
              <a:ext uri="{FF2B5EF4-FFF2-40B4-BE49-F238E27FC236}">
                <a16:creationId xmlns:a16="http://schemas.microsoft.com/office/drawing/2014/main" id="{69212D4F-01FB-AEA5-2F5F-90124C8D61FC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7945438" y="4846638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5E8903-5709-4A5D-87AC-211E13AF7A56}" type="datetime'''''''''0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1B90CEB6-AAA7-87BA-26D6-1C3A8378CDBD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7529513" y="5524500"/>
            <a:ext cx="63341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4A68E2-972B-49C2-92F7-24A8B9602906}" type="datetime'''A''''l''''''l'''''''' T''er''ra''i''''''''n Cra''n''es'''">
              <a:rPr lang="en-US" altLang="en-US" sz="1200" smtClean="0"/>
              <a:pPr/>
              <a:t>All Terrain Cranes</a:t>
            </a:fld>
            <a:endParaRPr lang="en-US" sz="1200" dirty="0"/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9F8656F7-E376-ECA1-F6E1-FB06A840DAEA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8970963" y="4843463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9A5ACC-3971-46A5-821B-29E51E670C85}" type="datetime'''''''''''''''''''0''''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4AA9ED3E-4912-45F5-64AF-79ED319ADC21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8650288" y="4845050"/>
            <a:ext cx="122238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48F3CD-EFDA-4EFD-BCAE-560904316DA4}" type="datetime'''''''''''9''''''''''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9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82" name="Text Placeholder 2">
            <a:extLst>
              <a:ext uri="{FF2B5EF4-FFF2-40B4-BE49-F238E27FC236}">
                <a16:creationId xmlns:a16="http://schemas.microsoft.com/office/drawing/2014/main" id="{3F4F329F-5501-193C-C347-9A6FB280D44F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8407399" y="5524500"/>
            <a:ext cx="9286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75AB3F-D6B4-4F73-92D5-CE2BA69FC935}" type="datetime'R''''''''e''''''ach ''''''''S''''''''tac''''kers'''''">
              <a:rPr lang="en-US" altLang="en-US" sz="1200" smtClean="0"/>
              <a:pPr/>
              <a:t>Reach Stackers</a:t>
            </a:fld>
            <a:endParaRPr lang="en-US" sz="1200" dirty="0"/>
          </a:p>
        </p:txBody>
      </p:sp>
      <p:sp>
        <p:nvSpPr>
          <p:cNvPr id="195" name="Text Placeholder 2">
            <a:extLst>
              <a:ext uri="{FF2B5EF4-FFF2-40B4-BE49-F238E27FC236}">
                <a16:creationId xmlns:a16="http://schemas.microsoft.com/office/drawing/2014/main" id="{048E7D2C-57F5-1B8E-458F-7866265C02A4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3484563" y="4894263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5D38FC-83BC-4C18-A46A-4B6CAD26C61B}" type="datetime'''2''''''''''''''''''''''''''''''''8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28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EF14F9A4-BD42-8A44-1C96-A5FEF71636A9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1633538" y="4924425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C32743-CBCF-4D9E-9275-E7BD5368D40C}" type="datetime'7''''''''''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7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224C9F81-2C58-95A6-6705-8641F26A008A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9675813" y="4843463"/>
            <a:ext cx="122238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52F749-4261-4030-B704-EDD528CEB560}" type="datetime'''''''''''''''''''''''''''''''''1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9ECD7CA1-2512-D124-464B-BE447977C0A4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9682163" y="5524500"/>
            <a:ext cx="4302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11B0DF-8121-49E5-A30C-37E00D1BD3EB}" type="datetime'''''''''''''''O''''''th''''''''er''s'''''''''''''''''''''''''">
              <a:rPr lang="en-US" altLang="en-US" sz="1200" smtClean="0"/>
              <a:pPr/>
              <a:t>Others</a:t>
            </a:fld>
            <a:endParaRPr lang="en-US" sz="1200" dirty="0"/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BE038779-C0D3-E753-2830-B6929F9EE20B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10821988" y="4298950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C6D5FF-E3FF-44BA-A062-CAF63171FBD5}" type="datetime'''''''''''''''2''''''''''''3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23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ACBF3EF4-B3C4-FA23-6CB8-E5C50F73BA50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10766425" y="5524500"/>
            <a:ext cx="3111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87280C-E99A-430A-A142-14CD744C5340}" type="datetime'''To''''t''''''''''a''''''''''l'''">
              <a:rPr lang="en-US" altLang="en-US" sz="1200" smtClean="0"/>
              <a:pPr/>
              <a:t>Total</a:t>
            </a:fld>
            <a:endParaRPr lang="en-US" sz="1200" dirty="0"/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7574BF3A-C93A-5029-6284-4F49777BBF8D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9996488" y="4843463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8A0269-907A-484E-A65F-01B4C1E15839}" type="datetime'''''''''''''''''''''''''''''''''''''''0'">
              <a:rPr lang="en-US" altLang="en-US" sz="1200" smtClean="0">
                <a:solidFill>
                  <a:schemeClr val="bg1"/>
                </a:solidFill>
                <a:effectLst/>
              </a:rPr>
              <a:pPr/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64" name="Text Placeholder 2">
            <a:extLst>
              <a:ext uri="{FF2B5EF4-FFF2-40B4-BE49-F238E27FC236}">
                <a16:creationId xmlns:a16="http://schemas.microsoft.com/office/drawing/2014/main" id="{8CBD5400-7BA7-399E-BBAB-654025EC0A8F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1312863" y="5524500"/>
            <a:ext cx="7620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EAF5F2-7BBE-4146-BDD8-BDC92EAAF1DC}" type="datetime'Pick a''n''d ''c''''''ar''ry'' ''''c''''''ra''''''n''es'''''''">
              <a:rPr lang="en-US" altLang="en-US" sz="1200" smtClean="0"/>
              <a:pPr/>
              <a:t>Pick and carry cranes</a:t>
            </a:fld>
            <a:endParaRPr lang="en-US" sz="1200" dirty="0"/>
          </a:p>
        </p:txBody>
      </p:sp>
      <p:sp>
        <p:nvSpPr>
          <p:cNvPr id="165" name="Text Placeholder 2">
            <a:extLst>
              <a:ext uri="{FF2B5EF4-FFF2-40B4-BE49-F238E27FC236}">
                <a16:creationId xmlns:a16="http://schemas.microsoft.com/office/drawing/2014/main" id="{0204233A-2C46-7CA5-6D93-981B1FE802C6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2779713" y="4903788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FBAC107-53DA-4C6D-AD3E-61EA61CBF411}" type="datetime'''''''''''''''''''''''''''''''15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5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0EA89DEA-8936-CE1D-8E0D-FC3400646192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2459038" y="4914900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22BBA7-E256-463B-BEBA-BE2403885F73}" type="datetime'''3''''''''''''''''4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34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67" name="Text Placeholder 2">
            <a:extLst>
              <a:ext uri="{FF2B5EF4-FFF2-40B4-BE49-F238E27FC236}">
                <a16:creationId xmlns:a16="http://schemas.microsoft.com/office/drawing/2014/main" id="{7315593E-0C61-82BA-BE11-246351D2B236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2297113" y="5524500"/>
            <a:ext cx="8445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4AC81E-34D0-41B8-BAE2-7E92A43F862F}" type="datetime'''''''''''T''''e''''''l''e'''' H''''''a''n''''''dler''''''s'">
              <a:rPr lang="en-US" altLang="en-US" sz="1200" smtClean="0"/>
              <a:pPr/>
              <a:t>Tele Handlers</a:t>
            </a:fld>
            <a:endParaRPr lang="en-US" sz="1200" dirty="0"/>
          </a:p>
        </p:txBody>
      </p:sp>
      <p:sp>
        <p:nvSpPr>
          <p:cNvPr id="168" name="Text Placeholder 2">
            <a:extLst>
              <a:ext uri="{FF2B5EF4-FFF2-40B4-BE49-F238E27FC236}">
                <a16:creationId xmlns:a16="http://schemas.microsoft.com/office/drawing/2014/main" id="{6F14D353-ECC4-AC2D-6A8E-D7E044CCFA76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3844925" y="4887913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EDC840-016D-4748-BD8B-5F7642E5CB4C}" type="datetime'''''''0''''''''''''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EC8A4E40-4AFE-E286-DC18-06605F3A7C38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3275012" y="5524500"/>
            <a:ext cx="9413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56D800-EF9D-4A81-8D2F-75DB552F9523}" type="datetime'''''Cr''''''''a''''''wl''''''''e''''''''r'' C''''ran''es'''''">
              <a:rPr lang="en-US" altLang="en-US" sz="1200" smtClean="0"/>
              <a:pPr/>
              <a:t>Crawler Cranes</a:t>
            </a:fld>
            <a:endParaRPr lang="en-US" sz="1200" dirty="0"/>
          </a:p>
        </p:txBody>
      </p: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0169D89E-C42D-AE0F-EFE8-845CC0E2C444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4870450" y="4879975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43F429-ED5C-4DF9-8902-2CD35C63F8A2}" type="datetime'''1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1" name="Text Placeholder 2">
            <a:extLst>
              <a:ext uri="{FF2B5EF4-FFF2-40B4-BE49-F238E27FC236}">
                <a16:creationId xmlns:a16="http://schemas.microsoft.com/office/drawing/2014/main" id="{F339F819-43E0-1E91-46BE-8B95B013CC75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4510088" y="4883150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236081-D57C-40CC-9FC1-8CC0FE1B57DA}" type="datetime'''''''''''''''''''1''7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7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3502FDD3-7D97-8114-48D3-2879C6F6F8DE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1497012" y="4759325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8119A4-0D36-4350-8C1E-5413A0C6DE5C}" type="datetime'''''''''''''''''1,''''''''''''05''''''''0'''''''''''''''">
              <a:rPr lang="en-US" altLang="en-US" sz="1200" smtClean="0"/>
              <a:pPr/>
              <a:t>1,050</a:t>
            </a:fld>
            <a:endParaRPr lang="en-US" sz="1200" dirty="0"/>
          </a:p>
        </p:txBody>
      </p:sp>
      <p:sp>
        <p:nvSpPr>
          <p:cNvPr id="192" name="Text Placeholder 2">
            <a:extLst>
              <a:ext uri="{FF2B5EF4-FFF2-40B4-BE49-F238E27FC236}">
                <a16:creationId xmlns:a16="http://schemas.microsoft.com/office/drawing/2014/main" id="{DD22DA11-A9BB-DAEA-0E4C-D6A82C06ED15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2619375" y="4738688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E8CECC-D6E4-4500-AE4C-A0C1CD06EEF2}" type="datetime'''''''''''''''''''''''''''''''''''''''49'''''''''''">
              <a:rPr lang="en-US" altLang="en-US" sz="1200" smtClean="0"/>
              <a:pPr/>
              <a:t>49</a:t>
            </a:fld>
            <a:endParaRPr lang="en-US" sz="1200" dirty="0"/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A378632A-F121-9268-F14B-7425277CE93A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3644900" y="4722813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C7C8EF-6CF6-4686-B74A-F9E9A724F224}" type="datetime'''''''''''''''''''''''''''2''''''8'''''''''">
              <a:rPr lang="en-US" altLang="en-US" sz="1200" smtClean="0"/>
              <a:pPr/>
              <a:t>28</a:t>
            </a:fld>
            <a:endParaRPr lang="en-US" sz="1200" dirty="0"/>
          </a:p>
        </p:txBody>
      </p:sp>
      <p:sp>
        <p:nvSpPr>
          <p:cNvPr id="194" name="Text Placeholder 2">
            <a:extLst>
              <a:ext uri="{FF2B5EF4-FFF2-40B4-BE49-F238E27FC236}">
                <a16:creationId xmlns:a16="http://schemas.microsoft.com/office/drawing/2014/main" id="{50C009FF-1C65-BA7D-7255-BAB849FC3DBC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4670425" y="4714875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BF3CC5-E50F-4143-9260-9F5B75700BCD}" type="datetime'''1''8'''''''''''''''''''''''''''''''''''''''''''">
              <a:rPr lang="en-US" altLang="en-US" sz="1200" smtClean="0"/>
              <a:pPr/>
              <a:t>18</a:t>
            </a:fld>
            <a:endParaRPr lang="en-US" sz="1200" dirty="0"/>
          </a:p>
        </p:txBody>
      </p:sp>
      <p:sp>
        <p:nvSpPr>
          <p:cNvPr id="201" name="Text Placeholder 2">
            <a:extLst>
              <a:ext uri="{FF2B5EF4-FFF2-40B4-BE49-F238E27FC236}">
                <a16:creationId xmlns:a16="http://schemas.microsoft.com/office/drawing/2014/main" id="{09BC87BA-E6A8-4CDE-089F-9B546AB805CC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5695950" y="4691063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5D2CAB-7BE0-4F10-8FDA-C3CC235C209C}" type="datetime'''''''''''''5''''''''''''''''''4'''''">
              <a:rPr lang="en-US" altLang="en-US" sz="1200" smtClean="0"/>
              <a:pPr/>
              <a:t>54</a:t>
            </a:fld>
            <a:endParaRPr lang="en-US" sz="1200" dirty="0"/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B114ADEC-EECD-EC65-90F1-929DF3C809EA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7624763" y="4848225"/>
            <a:ext cx="122238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59DADB-89E9-4038-99CA-3A7428EB2DF8}" type="datetime'''''''''''''''''''''''''''''''''6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6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97" name="Text Placeholder 2">
            <a:extLst>
              <a:ext uri="{FF2B5EF4-FFF2-40B4-BE49-F238E27FC236}">
                <a16:creationId xmlns:a16="http://schemas.microsoft.com/office/drawing/2014/main" id="{A012C51C-6748-7783-2E5D-22C1007DB421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7785100" y="4681538"/>
            <a:ext cx="122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07753B-193F-49F8-8BF1-C735F5D17C87}" type="datetime'''''''''6'''''''''''''''">
              <a:rPr lang="en-US" altLang="en-US" sz="1200" smtClean="0"/>
              <a:pPr/>
              <a:t>6</a:t>
            </a:fld>
            <a:endParaRPr lang="en-US" sz="1200" dirty="0"/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C188664A-D40C-78D2-9320-C46ABF1EC92F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8810625" y="4678363"/>
            <a:ext cx="122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E96D33-01C6-4A47-8ACA-8C5ECB5155AB}" type="datetime'''''''''''''''''''''''''''''''''''''''''''''''''''''9'''''''">
              <a:rPr lang="en-US" altLang="en-US" sz="1200" smtClean="0"/>
              <a:pPr/>
              <a:t>9</a:t>
            </a:fld>
            <a:endParaRPr lang="en-US" sz="1200" dirty="0"/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4CA58906-4DE3-B7CA-863F-1BC6F1903ED5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9836150" y="4678363"/>
            <a:ext cx="122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23C6FA-E113-4D1E-A335-B0F6955B2335}" type="datetime'''''''''''''''''''''''''''''1'''''''''''''''''''''''''''''''''">
              <a:rPr lang="en-US" altLang="en-US" sz="1200" smtClean="0"/>
              <a:pPr/>
              <a:t>1</a:t>
            </a:fld>
            <a:endParaRPr lang="en-US" sz="1200" dirty="0"/>
          </a:p>
        </p:txBody>
      </p: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57A7D036-5A09-0F9F-7730-4ECC85ABC105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10725150" y="4133850"/>
            <a:ext cx="3937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F177FC-EA04-4822-A4B5-E44AF4D3698E}" type="datetime'''''''1'''''',''''''''''''''''''''''''''''''''2''''''''29'''">
              <a:rPr lang="en-US" altLang="en-US" sz="1200" smtClean="0"/>
              <a:pPr/>
              <a:t>1,229</a:t>
            </a:fld>
            <a:endParaRPr lang="en-US" sz="1200" dirty="0"/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59CC8269-A521-A0D5-2091-3329D8DDA6A5}"/>
              </a:ext>
            </a:extLst>
          </p:cNvPr>
          <p:cNvSpPr>
            <a:spLocks noGrp="1"/>
          </p:cNvSpPr>
          <p:nvPr>
            <p:custDataLst>
              <p:tags r:id="rId97"/>
            </p:custDataLst>
          </p:nvPr>
        </p:nvSpPr>
        <p:spPr bwMode="auto">
          <a:xfrm>
            <a:off x="4371976" y="5524500"/>
            <a:ext cx="7985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899B56-CEA7-4240-A750-093C4F7CA326}" type="datetime'''''T''''''r''''u''''c''''''''k'' ''''''C''''r''''a''''nes'''">
              <a:rPr lang="en-US" altLang="en-US" sz="1200" smtClean="0"/>
              <a:pPr/>
              <a:t>Truck Cranes</a:t>
            </a:fld>
            <a:endParaRPr lang="en-US" sz="1200" dirty="0"/>
          </a:p>
        </p:txBody>
      </p:sp>
      <p:sp>
        <p:nvSpPr>
          <p:cNvPr id="196" name="Text Placeholder 2">
            <a:extLst>
              <a:ext uri="{FF2B5EF4-FFF2-40B4-BE49-F238E27FC236}">
                <a16:creationId xmlns:a16="http://schemas.microsoft.com/office/drawing/2014/main" id="{75E0CB11-C2C5-D6E4-B696-AA7F28D2E6F1}"/>
              </a:ext>
            </a:extLst>
          </p:cNvPr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6719888" y="4684713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E6297F-7FB0-46BA-B5B3-A524AE39A17E}" type="datetime'1''4'''''''''''''''''''''''''''''''''''''">
              <a:rPr lang="en-US" altLang="en-US" sz="1200" smtClean="0"/>
              <a:pPr/>
              <a:t>14</a:t>
            </a:fld>
            <a:endParaRPr lang="en-US" sz="1200" dirty="0"/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897AA743-C55F-343B-0F67-206D2B1370F7}"/>
              </a:ext>
            </a:extLst>
          </p:cNvPr>
          <p:cNvSpPr/>
          <p:nvPr/>
        </p:nvSpPr>
        <p:spPr>
          <a:xfrm>
            <a:off x="427037" y="4149299"/>
            <a:ext cx="468313" cy="1606550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CCAD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1E50A0"/>
                </a:solidFill>
              </a:rPr>
              <a:t>Material Handling Equipment</a:t>
            </a:r>
          </a:p>
        </p:txBody>
      </p:sp>
      <p:sp>
        <p:nvSpPr>
          <p:cNvPr id="203" name="Oval 202">
            <a:extLst>
              <a:ext uri="{FF2B5EF4-FFF2-40B4-BE49-F238E27FC236}">
                <a16:creationId xmlns:a16="http://schemas.microsoft.com/office/drawing/2014/main" id="{6D4D2F04-0BD0-8E40-4F7F-BA2B58C4C2D4}"/>
              </a:ext>
            </a:extLst>
          </p:cNvPr>
          <p:cNvSpPr/>
          <p:nvPr/>
        </p:nvSpPr>
        <p:spPr>
          <a:xfrm>
            <a:off x="1346521" y="5970336"/>
            <a:ext cx="723077" cy="257490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85%</a:t>
            </a:r>
          </a:p>
        </p:txBody>
      </p:sp>
      <p:sp>
        <p:nvSpPr>
          <p:cNvPr id="204" name="Oval 203">
            <a:extLst>
              <a:ext uri="{FF2B5EF4-FFF2-40B4-BE49-F238E27FC236}">
                <a16:creationId xmlns:a16="http://schemas.microsoft.com/office/drawing/2014/main" id="{BB0E63FB-296F-6D26-1771-ECC3637C2B8D}"/>
              </a:ext>
            </a:extLst>
          </p:cNvPr>
          <p:cNvSpPr/>
          <p:nvPr/>
        </p:nvSpPr>
        <p:spPr>
          <a:xfrm>
            <a:off x="2359754" y="5970336"/>
            <a:ext cx="723077" cy="257490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4%</a:t>
            </a:r>
          </a:p>
        </p:txBody>
      </p:sp>
      <p:sp>
        <p:nvSpPr>
          <p:cNvPr id="205" name="Oval 204">
            <a:extLst>
              <a:ext uri="{FF2B5EF4-FFF2-40B4-BE49-F238E27FC236}">
                <a16:creationId xmlns:a16="http://schemas.microsoft.com/office/drawing/2014/main" id="{49586D5B-CC90-ADF4-53BB-10D7D78E79D7}"/>
              </a:ext>
            </a:extLst>
          </p:cNvPr>
          <p:cNvSpPr/>
          <p:nvPr/>
        </p:nvSpPr>
        <p:spPr>
          <a:xfrm>
            <a:off x="3372987" y="5970336"/>
            <a:ext cx="723077" cy="257490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2%</a:t>
            </a:r>
          </a:p>
        </p:txBody>
      </p:sp>
      <p:sp>
        <p:nvSpPr>
          <p:cNvPr id="206" name="Oval 205">
            <a:extLst>
              <a:ext uri="{FF2B5EF4-FFF2-40B4-BE49-F238E27FC236}">
                <a16:creationId xmlns:a16="http://schemas.microsoft.com/office/drawing/2014/main" id="{DBD8B33E-0CD1-391A-238D-41221F7AE471}"/>
              </a:ext>
            </a:extLst>
          </p:cNvPr>
          <p:cNvSpPr/>
          <p:nvPr/>
        </p:nvSpPr>
        <p:spPr>
          <a:xfrm>
            <a:off x="4386220" y="5970336"/>
            <a:ext cx="723077" cy="257490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1%</a:t>
            </a:r>
          </a:p>
        </p:txBody>
      </p:sp>
      <p:sp>
        <p:nvSpPr>
          <p:cNvPr id="207" name="Oval 206">
            <a:extLst>
              <a:ext uri="{FF2B5EF4-FFF2-40B4-BE49-F238E27FC236}">
                <a16:creationId xmlns:a16="http://schemas.microsoft.com/office/drawing/2014/main" id="{0FE0C570-A9FC-C20B-391C-1737DA4646C2}"/>
              </a:ext>
            </a:extLst>
          </p:cNvPr>
          <p:cNvSpPr/>
          <p:nvPr/>
        </p:nvSpPr>
        <p:spPr>
          <a:xfrm>
            <a:off x="5399453" y="5970336"/>
            <a:ext cx="723077" cy="257490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4%</a:t>
            </a:r>
          </a:p>
        </p:txBody>
      </p:sp>
      <p:sp>
        <p:nvSpPr>
          <p:cNvPr id="208" name="Oval 207">
            <a:extLst>
              <a:ext uri="{FF2B5EF4-FFF2-40B4-BE49-F238E27FC236}">
                <a16:creationId xmlns:a16="http://schemas.microsoft.com/office/drawing/2014/main" id="{8DD36599-E858-7DD8-4B43-7E8CCA8B601A}"/>
              </a:ext>
            </a:extLst>
          </p:cNvPr>
          <p:cNvSpPr/>
          <p:nvPr/>
        </p:nvSpPr>
        <p:spPr>
          <a:xfrm>
            <a:off x="6412686" y="5970336"/>
            <a:ext cx="723077" cy="257490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1%</a:t>
            </a:r>
          </a:p>
        </p:txBody>
      </p:sp>
      <p:sp>
        <p:nvSpPr>
          <p:cNvPr id="209" name="ee4pFootnotes">
            <a:extLst>
              <a:ext uri="{FF2B5EF4-FFF2-40B4-BE49-F238E27FC236}">
                <a16:creationId xmlns:a16="http://schemas.microsoft.com/office/drawing/2014/main" id="{BF41DFA3-2FF2-23E2-C6EB-46649C55D4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9325" y="6516185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sym typeface="Trebuchet MS" panose="020B0603020202020204" pitchFamily="34" charset="0"/>
              </a:rPr>
              <a:t>Source: ICEMA</a:t>
            </a: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A4FA4AB1-8289-07A2-F6B0-D140D6356C41}"/>
              </a:ext>
            </a:extLst>
          </p:cNvPr>
          <p:cNvSpPr/>
          <p:nvPr/>
        </p:nvSpPr>
        <p:spPr>
          <a:xfrm>
            <a:off x="10464801" y="5960245"/>
            <a:ext cx="1368602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400" b="1" dirty="0">
                <a:solidFill>
                  <a:srgbClr val="1E50A0"/>
                </a:solidFill>
                <a:sym typeface="Trebuchet MS" panose="020B0603020202020204" pitchFamily="34" charset="0"/>
              </a:rPr>
              <a:t>% sales share </a:t>
            </a:r>
          </a:p>
        </p:txBody>
      </p:sp>
      <p:sp>
        <p:nvSpPr>
          <p:cNvPr id="211" name="Oval 210">
            <a:extLst>
              <a:ext uri="{FF2B5EF4-FFF2-40B4-BE49-F238E27FC236}">
                <a16:creationId xmlns:a16="http://schemas.microsoft.com/office/drawing/2014/main" id="{9812617D-DBC4-9D65-A138-84843869E0ED}"/>
              </a:ext>
            </a:extLst>
          </p:cNvPr>
          <p:cNvSpPr/>
          <p:nvPr/>
        </p:nvSpPr>
        <p:spPr>
          <a:xfrm>
            <a:off x="7425919" y="5970336"/>
            <a:ext cx="723077" cy="257490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&lt;1%</a:t>
            </a:r>
          </a:p>
        </p:txBody>
      </p:sp>
      <p:sp>
        <p:nvSpPr>
          <p:cNvPr id="212" name="Oval 211">
            <a:extLst>
              <a:ext uri="{FF2B5EF4-FFF2-40B4-BE49-F238E27FC236}">
                <a16:creationId xmlns:a16="http://schemas.microsoft.com/office/drawing/2014/main" id="{4A9FA227-09F9-C021-5007-48656D4BC175}"/>
              </a:ext>
            </a:extLst>
          </p:cNvPr>
          <p:cNvSpPr/>
          <p:nvPr/>
        </p:nvSpPr>
        <p:spPr>
          <a:xfrm>
            <a:off x="8439152" y="5970336"/>
            <a:ext cx="723077" cy="257490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&lt;1%</a:t>
            </a:r>
          </a:p>
        </p:txBody>
      </p:sp>
      <p:sp>
        <p:nvSpPr>
          <p:cNvPr id="213" name="Oval 212">
            <a:extLst>
              <a:ext uri="{FF2B5EF4-FFF2-40B4-BE49-F238E27FC236}">
                <a16:creationId xmlns:a16="http://schemas.microsoft.com/office/drawing/2014/main" id="{DECD7C02-8880-EEDE-7315-2B51234345AC}"/>
              </a:ext>
            </a:extLst>
          </p:cNvPr>
          <p:cNvSpPr/>
          <p:nvPr/>
        </p:nvSpPr>
        <p:spPr>
          <a:xfrm>
            <a:off x="9452387" y="5970335"/>
            <a:ext cx="723077" cy="257490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&lt;1%</a:t>
            </a:r>
          </a:p>
        </p:txBody>
      </p:sp>
    </p:spTree>
    <p:extLst>
      <p:ext uri="{BB962C8B-B14F-4D97-AF65-F5344CB8AC3E}">
        <p14:creationId xmlns:p14="http://schemas.microsoft.com/office/powerpoint/2010/main" val="330916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C3D164-88A2-9E47-A86C-414C5C98471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51791" y="59343"/>
            <a:ext cx="11940208" cy="619472"/>
          </a:xfrm>
        </p:spPr>
        <p:txBody>
          <a:bodyPr anchor="ctr">
            <a:normAutofit/>
          </a:bodyPr>
          <a:lstStyle/>
          <a:p>
            <a:r>
              <a:rPr lang="en-US" sz="2800" b="0" dirty="0">
                <a:solidFill>
                  <a:schemeClr val="bg1"/>
                </a:solidFill>
              </a:rPr>
              <a:t>Equipment Coverage*</a:t>
            </a:r>
          </a:p>
        </p:txBody>
      </p:sp>
      <p:graphicFrame>
        <p:nvGraphicFramePr>
          <p:cNvPr id="13" name="Content Placeholder 6">
            <a:extLst>
              <a:ext uri="{FF2B5EF4-FFF2-40B4-BE49-F238E27FC236}">
                <a16:creationId xmlns:a16="http://schemas.microsoft.com/office/drawing/2014/main" id="{A478B7D0-607D-4E8A-8EEB-D6F2132599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42891971"/>
              </p:ext>
            </p:extLst>
          </p:nvPr>
        </p:nvGraphicFramePr>
        <p:xfrm>
          <a:off x="723316" y="845064"/>
          <a:ext cx="10413115" cy="5713203"/>
        </p:xfrm>
        <a:graphic>
          <a:graphicData uri="http://schemas.openxmlformats.org/drawingml/2006/table">
            <a:tbl>
              <a:tblPr firstRow="1">
                <a:tableStyleId>{9DCAF9ED-07DC-4A11-8D7F-57B35C25682E}</a:tableStyleId>
              </a:tblPr>
              <a:tblGrid>
                <a:gridCol w="2082623">
                  <a:extLst>
                    <a:ext uri="{9D8B030D-6E8A-4147-A177-3AD203B41FA5}">
                      <a16:colId xmlns:a16="http://schemas.microsoft.com/office/drawing/2014/main" val="3210902728"/>
                    </a:ext>
                  </a:extLst>
                </a:gridCol>
                <a:gridCol w="2082623">
                  <a:extLst>
                    <a:ext uri="{9D8B030D-6E8A-4147-A177-3AD203B41FA5}">
                      <a16:colId xmlns:a16="http://schemas.microsoft.com/office/drawing/2014/main" val="3560794637"/>
                    </a:ext>
                  </a:extLst>
                </a:gridCol>
                <a:gridCol w="2082623">
                  <a:extLst>
                    <a:ext uri="{9D8B030D-6E8A-4147-A177-3AD203B41FA5}">
                      <a16:colId xmlns:a16="http://schemas.microsoft.com/office/drawing/2014/main" val="2103212027"/>
                    </a:ext>
                  </a:extLst>
                </a:gridCol>
                <a:gridCol w="2082623">
                  <a:extLst>
                    <a:ext uri="{9D8B030D-6E8A-4147-A177-3AD203B41FA5}">
                      <a16:colId xmlns:a16="http://schemas.microsoft.com/office/drawing/2014/main" val="1186339507"/>
                    </a:ext>
                  </a:extLst>
                </a:gridCol>
                <a:gridCol w="2082623">
                  <a:extLst>
                    <a:ext uri="{9D8B030D-6E8A-4147-A177-3AD203B41FA5}">
                      <a16:colId xmlns:a16="http://schemas.microsoft.com/office/drawing/2014/main" val="2104594520"/>
                    </a:ext>
                  </a:extLst>
                </a:gridCol>
              </a:tblGrid>
              <a:tr h="42913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arthmoving Equipmen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erial Handling Equipment</a:t>
                      </a: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ad Construction Equipment </a:t>
                      </a: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terial Processing Equipment</a:t>
                      </a: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crete Equipment</a:t>
                      </a:r>
                    </a:p>
                  </a:txBody>
                  <a:tcPr marL="6350" marR="6350" marT="6350" marB="0" anchor="b">
                    <a:lnR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8987825"/>
                  </a:ext>
                </a:extLst>
              </a:tr>
              <a:tr h="64054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ackhoe loaders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ick and Carry Cranes (Hydra Cranes)</a:t>
                      </a: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acked Pavers</a:t>
                      </a: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ressors (Automatic/Diesel/Electric Portable; Diesel Skid)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tching Plants</a:t>
                      </a:r>
                    </a:p>
                  </a:txBody>
                  <a:tcPr marL="6350" marR="6350" marT="6350" marB="0" anchor="b">
                    <a:lnR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8947047"/>
                  </a:ext>
                </a:extLst>
              </a:tr>
              <a:tr h="4291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id Steer loader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ick and Carry Cranes (Hydraulic Cranes)</a:t>
                      </a: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heeled Pavers</a:t>
                      </a: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ic Crushers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lf Loading Concrete Mixers</a:t>
                      </a:r>
                    </a:p>
                  </a:txBody>
                  <a:tcPr marL="6350" marR="6350" marT="6350" marB="0" anchor="b">
                    <a:lnR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3121452"/>
                  </a:ext>
                </a:extLst>
              </a:tr>
              <a:tr h="45018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rack Loader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ick and Carry Cranes (Next Gen Cranes)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ngle Drum Rollers (Soil Compactors)</a:t>
                      </a: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ack Crushers</a:t>
                      </a: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crete Mixers (Transit Mixers)</a:t>
                      </a:r>
                    </a:p>
                  </a:txBody>
                  <a:tcPr marL="6350" marR="6350" marT="6350" marB="0" anchor="b">
                    <a:lnR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0064206"/>
                  </a:ext>
                </a:extLst>
              </a:tr>
              <a:tr h="4291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heeled Loader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rry Loader Cranes 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uble Drum Rollers (Tandem Compactors)</a:t>
                      </a: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heeled Crushers</a:t>
                      </a: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tionary Concrete Pumps</a:t>
                      </a:r>
                    </a:p>
                  </a:txBody>
                  <a:tcPr marL="6350" marR="6350" marT="6350" marB="0" anchor="b">
                    <a:lnR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0071650"/>
                  </a:ext>
                </a:extLst>
              </a:tr>
              <a:tr h="4291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rack Type Tractors / Crawler Dozer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uck Cranes </a:t>
                      </a: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eumatic Tyre Rollers</a:t>
                      </a: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ll crusher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bile Line Pumps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0741033"/>
                  </a:ext>
                </a:extLst>
              </a:tr>
              <a:tr h="4291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Wheeled Dozer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wler Cranes</a:t>
                      </a: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phalt Batching Plants</a:t>
                      </a: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reeners (Static/Track mounted/Vibrating)</a:t>
                      </a: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om Pumps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8590438"/>
                  </a:ext>
                </a:extLst>
              </a:tr>
              <a:tr h="42699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wler Excavators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 Terrain Cranes</a:t>
                      </a: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phalt Finishers</a:t>
                      </a: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ir classifiers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hotcrete</a:t>
                      </a:r>
                    </a:p>
                  </a:txBody>
                  <a:tcPr marL="6350" marR="6350" marT="6350" marB="0" anchor="b">
                    <a:lnR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7203512"/>
                  </a:ext>
                </a:extLst>
              </a:tr>
              <a:tr h="2177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heeled Excavator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ugh Terrain Cranes</a:t>
                      </a: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lling Track</a:t>
                      </a: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t Classifiers / Washing System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ipform Pavers</a:t>
                      </a:r>
                    </a:p>
                  </a:txBody>
                  <a:tcPr marL="6350" marR="6350" marT="6350" marB="0" anchor="ctr">
                    <a:lnR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3768240"/>
                  </a:ext>
                </a:extLst>
              </a:tr>
              <a:tr h="4291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tor Grader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xed Tower Cranes</a:t>
                      </a: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lling Wheel</a:t>
                      </a: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izzly Feeder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Fixed Form Pavers</a:t>
                      </a:r>
                    </a:p>
                  </a:txBody>
                  <a:tcPr marL="6350" marR="6350" marT="6350" marB="0" anchor="b">
                    <a:lnR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5160819"/>
                  </a:ext>
                </a:extLst>
              </a:tr>
              <a:tr h="4269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f Highway Dump Truck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bile Tower Cranes</a:t>
                      </a: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n Feeder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R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668288"/>
                  </a:ext>
                </a:extLst>
              </a:tr>
              <a:tr h="42913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ipe Layers</a:t>
                      </a:r>
                    </a:p>
                    <a:p>
                      <a:pPr algn="l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le Handlers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R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8769740"/>
                  </a:ext>
                </a:extLst>
              </a:tr>
              <a:tr h="301991"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ach Stackers</a:t>
                      </a: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R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CCA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8186735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15DFC613-9874-4E97-B171-A0597DE1C08E}"/>
              </a:ext>
            </a:extLst>
          </p:cNvPr>
          <p:cNvSpPr txBox="1"/>
          <p:nvPr/>
        </p:nvSpPr>
        <p:spPr>
          <a:xfrm>
            <a:off x="7858536" y="6313387"/>
            <a:ext cx="2780120" cy="312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Updated List of Equipment</a:t>
            </a:r>
            <a:endParaRPr kumimoji="0" lang="en-IN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516769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ject 52" hidden="1">
            <a:extLst>
              <a:ext uri="{FF2B5EF4-FFF2-40B4-BE49-F238E27FC236}">
                <a16:creationId xmlns:a16="http://schemas.microsoft.com/office/drawing/2014/main" id="{249C2057-F551-44AC-8E9D-8B82A78271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6484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3" imgW="395" imgH="396" progId="TCLayout.ActiveDocument.1">
                  <p:embed/>
                </p:oleObj>
              </mc:Choice>
              <mc:Fallback>
                <p:oleObj name="think-cell Slide" r:id="rId133" imgW="395" imgH="396" progId="TCLayout.ActiveDocument.1">
                  <p:embed/>
                  <p:pic>
                    <p:nvPicPr>
                      <p:cNvPr id="53" name="Object 52" hidden="1">
                        <a:extLst>
                          <a:ext uri="{FF2B5EF4-FFF2-40B4-BE49-F238E27FC236}">
                            <a16:creationId xmlns:a16="http://schemas.microsoft.com/office/drawing/2014/main" id="{249C2057-F551-44AC-8E9D-8B82A78271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8AD972F-8D44-43D3-A898-6A9EB3EB5912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>
            <a:off x="1660525" y="2640013"/>
            <a:ext cx="25400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85D4569-5B54-4762-BC7C-229A12DA7A86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2341563" y="2479675"/>
            <a:ext cx="25558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AE3E496-0903-4886-A549-8343CAADA12A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3024188" y="2420938"/>
            <a:ext cx="25400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5BE39F1-E940-4543-8C55-3FE560C6A80A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3705225" y="2374900"/>
            <a:ext cx="25558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6FD7A2A-C45E-450D-ADE9-98E0CF314160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4387850" y="2346325"/>
            <a:ext cx="25400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0BA07C80-8431-459B-807F-9B1A1FC9DEBB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5068888" y="2339975"/>
            <a:ext cx="25558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190E80DF-F711-27D0-151A-19549D7444C1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4641850" y="2339975"/>
            <a:ext cx="427038" cy="6350"/>
          </a:xfrm>
          <a:prstGeom prst="rect">
            <a:avLst/>
          </a:prstGeom>
          <a:solidFill>
            <a:srgbClr val="1E50A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7" name="Chart 46">
            <a:extLst>
              <a:ext uri="{FF2B5EF4-FFF2-40B4-BE49-F238E27FC236}">
                <a16:creationId xmlns:a16="http://schemas.microsoft.com/office/drawing/2014/main" id="{AC079C21-3267-B80F-7A33-86C7663F4A1F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660187446"/>
              </p:ext>
            </p:extLst>
          </p:nvPr>
        </p:nvGraphicFramePr>
        <p:xfrm>
          <a:off x="1023938" y="1617663"/>
          <a:ext cx="4937125" cy="1443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5"/>
          </a:graphicData>
        </a:graphic>
      </p:graphicFrame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C3A3C01-79F7-4937-A013-E792F3016CB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536825" y="3028950"/>
            <a:ext cx="5461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37523E-BACD-4E6B-9D21-2F6B97D665C3}" type="datetime'B''''''atchi''ng'' ''''''''P''''''l''an''''''''''t''''s'''''">
              <a:rPr lang="en-US" altLang="en-US" sz="1200" smtClean="0"/>
              <a:pPr/>
              <a:t>Batching Plants</a:t>
            </a:fld>
            <a:endParaRPr lang="en-US" sz="1200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49D2C09-D1C0-4F02-ACB5-94964FF066C3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538538" y="2292350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A5651F-DED9-4CFC-91F7-6DC92A475863}" type="datetime'''''''''''''''''''''''''''''''''''''1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284538" y="2314575"/>
            <a:ext cx="200025" cy="165100"/>
          </a:xfrm>
          <a:prstGeom prst="rect">
            <a:avLst/>
          </a:prstGeom>
          <a:solidFill>
            <a:srgbClr val="1E50A0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DE7007-7DC4-4039-B364-35F8564542E7}" type="datetime'''''''''''''''6''''''3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63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1C10776-4C9A-49C7-ACD7-94234871BC0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206751" y="3028950"/>
            <a:ext cx="569913" cy="660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904BEF-0739-41D7-87AA-44DA15E792BB}" type="datetime'Sel''''f ''Lo''ad''i''''''ng ''C''on''''c''rete Mixers'''">
              <a:rPr lang="en-US" altLang="en-US" sz="1200" smtClean="0"/>
              <a:pPr/>
              <a:t>Self Loading Concrete Mixers</a:t>
            </a:fld>
            <a:endParaRPr lang="en-US" sz="1200" dirty="0"/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221163" y="2263775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79E6B1-1D9E-47FB-B009-6BABDF821CB3}" type="datetime'''''0''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967163" y="2278063"/>
            <a:ext cx="200025" cy="165100"/>
          </a:xfrm>
          <a:prstGeom prst="rect">
            <a:avLst/>
          </a:prstGeom>
          <a:solidFill>
            <a:srgbClr val="1E50A0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3F1B78-BD04-424C-888D-077B4F6072F4}" type="datetime'''''3''''''''''''''''8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38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DA6E763-147A-4FB8-A205-904B2B09AE4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957638" y="3028950"/>
            <a:ext cx="43338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297F54-87B2-47B6-B39F-90CD5A2E69BD}" type="datetime'''''''''B''o''''o''m'''''' ''''P''''''''''um''p''''s'''''">
              <a:rPr lang="en-US" altLang="en-US" sz="1200" smtClean="0"/>
              <a:pPr/>
              <a:t>Boom Pumps</a:t>
            </a:fld>
            <a:endParaRPr lang="en-US" sz="1200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902200" y="2257425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D01AA38-3F01-4A9C-9A7C-23180D69D00D}" type="datetime'''''''''''''''''''''''''''''''''''''''''''''''''''''''0'''">
              <a:rPr lang="en-US" altLang="en-US" sz="12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648200" y="2260600"/>
            <a:ext cx="200025" cy="165100"/>
          </a:xfrm>
          <a:prstGeom prst="rect">
            <a:avLst/>
          </a:prstGeom>
          <a:solidFill>
            <a:srgbClr val="1E50A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B2CC66B-C5BC-49FF-8223-0EEAA2889617}" type="datetime'''''''''1''''''''''''''''''''''1'''''''''''''''''''">
              <a:rPr lang="en-US" altLang="en-US" sz="12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385888" y="2557463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A644481-C5B5-46AF-9FB1-2E86D8206678}" type="datetime'''''''''''''''''''''''''''0'''''''''''''''">
              <a:rPr lang="en-US" altLang="en-US" sz="12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6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437188" y="1622425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D90BA4-81FB-4187-B82F-605F9EA81138}" type="datetime'''''''''''15''''''''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5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D7923E3A-0B1A-431D-80FF-0801BDAB8EFB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381625" y="3028950"/>
            <a:ext cx="3111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6EF3DF-EC7E-4ADC-A44C-D84A580B411B}" type="datetime'''T''''''''''''''''''''''''''''o''''''''t''''''''al'">
              <a:rPr lang="en-US" altLang="en-US" sz="1200" smtClean="0"/>
              <a:pPr/>
              <a:t>Total</a:t>
            </a:fld>
            <a:endParaRPr lang="en-US" sz="1200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1ABA418-5503-42F1-AF23-2863D2D9AC7C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162050" y="3028950"/>
            <a:ext cx="569913" cy="660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E1961F-C2D1-4657-B249-1DDD7F4F4CA5}" type="datetime'C''o''''nc''''''r''''ete M''i''x''ers (T''ransit'' Mi''xers)'">
              <a:rPr lang="en-US" altLang="en-US" sz="1200" smtClean="0"/>
              <a:pPr/>
              <a:t>Concrete Mixers (Transit Mixers)</a:t>
            </a:fld>
            <a:endParaRPr lang="en-US" sz="1200" dirty="0"/>
          </a:p>
        </p:txBody>
      </p:sp>
      <p:sp>
        <p:nvSpPr>
          <p:cNvPr id="16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135188" y="2400300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26D6B9-5652-49B0-97A6-902ADDCDC2E8}" type="datetime'''''''''''''1''0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4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882775" y="2481263"/>
            <a:ext cx="277813" cy="165100"/>
          </a:xfrm>
          <a:prstGeom prst="rect">
            <a:avLst/>
          </a:prstGeom>
          <a:solidFill>
            <a:srgbClr val="1E50A0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36CD6A-6C37-4ECA-845B-CFACA3381488}" type="datetime'''''''''''''''''''''''2''''''''''''''1''''2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212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C15B6F0-A781-43E3-AC8B-64489AF59D7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806575" y="3028950"/>
            <a:ext cx="642938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BA8B2E2-795B-4220-AD6E-A2454719D894}" type="datetime'''Sta''''''''t''''io''n''ary Co''n''''''cret''e P''um''p''s'">
              <a:rPr lang="en-US" altLang="en-US" sz="1200" smtClean="0"/>
              <a:pPr/>
              <a:t>Stationary Concrete Pumps</a:t>
            </a:fld>
            <a:endParaRPr lang="en-US" sz="1200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857500" y="2338388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34C7D7D-7F9C-4B0E-98BF-177408CC4CC1}" type="datetime'''''''''''''''''4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4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603500" y="2368550"/>
            <a:ext cx="200025" cy="165100"/>
          </a:xfrm>
          <a:prstGeom prst="rect">
            <a:avLst/>
          </a:prstGeom>
          <a:solidFill>
            <a:srgbClr val="1E50A0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B0EC9F-02CE-44AD-AEB8-0BD612D070E1}" type="datetime'''''''''''8''''''''''''''''''''''''''''0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8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308100" y="2392363"/>
            <a:ext cx="277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A98A3A-32D7-42C0-9D6D-EFBB5C1052AC}" type="datetime'''''''''''''''''''4''''''''''''''''7''''2'''''''''''''''''''''">
              <a:rPr lang="en-US" altLang="en-US" sz="1200" smtClean="0"/>
              <a:pPr/>
              <a:t>472</a:t>
            </a:fld>
            <a:endParaRPr lang="en-US" sz="1200" dirty="0"/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989138" y="2235200"/>
            <a:ext cx="277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9CB196-CEF4-4839-A207-C7AE51C1BC0B}" type="datetime'''''''''''''''''''''''''''''''''''''''2''''''''2''''2'''''''''">
              <a:rPr lang="en-US" altLang="en-US" sz="1200" smtClean="0"/>
              <a:pPr/>
              <a:t>222</a:t>
            </a:fld>
            <a:endParaRPr lang="en-US" sz="1200" dirty="0"/>
          </a:p>
        </p:txBody>
      </p:sp>
      <p:sp>
        <p:nvSpPr>
          <p:cNvPr id="15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2709863" y="2173288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ADBDB8-30F5-44A5-B79F-EC8226EBBD7D}" type="datetime'''''''''8''''''''''''''4'''''''''''''''''''''">
              <a:rPr lang="en-US" altLang="en-US" sz="1200" smtClean="0"/>
              <a:pPr/>
              <a:t>84</a:t>
            </a:fld>
            <a:endParaRPr lang="en-US" sz="1200" dirty="0"/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390900" y="2127250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73B856-EE63-4406-9355-A7DD7FE3AE63}" type="datetime'''''''''''''''''''''''''''''''''''''''''''''''''6''''''4'''">
              <a:rPr lang="en-US" altLang="en-US" sz="1200" smtClean="0"/>
              <a:pPr/>
              <a:t>64</a:t>
            </a:fld>
            <a:endParaRPr lang="en-US" sz="1200" dirty="0"/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073525" y="2098675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C539C7-6061-4A6F-8A91-E87EF2D63318}" type="datetime'''3''''''8'''''''''''''''''''">
              <a:rPr lang="en-US" altLang="en-US" sz="1200" smtClean="0"/>
              <a:pPr/>
              <a:t>38</a:t>
            </a:fld>
            <a:endParaRPr lang="en-US" sz="1200" dirty="0"/>
          </a:p>
        </p:txBody>
      </p:sp>
      <p:sp>
        <p:nvSpPr>
          <p:cNvPr id="16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754563" y="2092325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272D24-6AD8-4315-AEDB-0329B8D7C587}" type="datetime'''''1''''''''''''''''''''''''''''1'''">
              <a:rPr lang="en-US" altLang="en-US" sz="1200" smtClean="0"/>
              <a:pPr/>
              <a:t>11</a:t>
            </a:fld>
            <a:endParaRPr lang="en-US" sz="1200" dirty="0"/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399089" y="1457325"/>
            <a:ext cx="277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D5F34A-FA83-47E2-8A45-3269CE30A88D}" type="datetime'8''''9''''''''''''''''''''''''1'''''''''">
              <a:rPr lang="en-US" altLang="en-US" sz="1200" smtClean="0"/>
              <a:pPr/>
              <a:t>891</a:t>
            </a:fld>
            <a:endParaRPr lang="en-US" sz="1200" dirty="0"/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9E4C7A41-08A5-46AA-89AA-E63AC299623F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640263" y="3028950"/>
            <a:ext cx="4302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688E5C-3869-47DE-9F25-54C63AD5BAFB}" type="datetime'''O''''t''''h''''e''''''''''''''''''''''rs'''">
              <a:rPr lang="en-US" altLang="en-US" sz="1200" smtClean="0"/>
              <a:pPr/>
              <a:t>Others</a:t>
            </a:fld>
            <a:endParaRPr lang="en-US" sz="1200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8D1E289-204F-48FB-A88B-A5273FCF781C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>
            <a:off x="7167563" y="2662238"/>
            <a:ext cx="246063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FC25DCD-9D12-4212-8111-CF5AE4EBC705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>
            <a:off x="7824788" y="2400300"/>
            <a:ext cx="246063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98AF08E-E3FD-412F-BC0E-E59A285FD9E3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>
            <a:off x="8482013" y="2359025"/>
            <a:ext cx="246063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3325616-4C16-46C6-A4BF-A0875CDE693C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">
          <a:xfrm>
            <a:off x="9140825" y="2316163"/>
            <a:ext cx="246063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4710DF80-6368-4885-BA38-DE084B68A21B}"/>
              </a:ext>
            </a:extLst>
          </p:cNvPr>
          <p:cNvCxnSpPr/>
          <p:nvPr>
            <p:custDataLst>
              <p:tags r:id="rId40"/>
            </p:custDataLst>
          </p:nvPr>
        </p:nvCxnSpPr>
        <p:spPr bwMode="gray">
          <a:xfrm>
            <a:off x="9798050" y="2295525"/>
            <a:ext cx="246063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B5E10AB-655A-4D23-B0FE-78853419395F}"/>
              </a:ext>
            </a:extLst>
          </p:cNvPr>
          <p:cNvCxnSpPr/>
          <p:nvPr>
            <p:custDataLst>
              <p:tags r:id="rId41"/>
            </p:custDataLst>
          </p:nvPr>
        </p:nvCxnSpPr>
        <p:spPr bwMode="gray">
          <a:xfrm>
            <a:off x="10455275" y="2292350"/>
            <a:ext cx="246063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9" name="Straight Connector 238">
            <a:extLst>
              <a:ext uri="{FF2B5EF4-FFF2-40B4-BE49-F238E27FC236}">
                <a16:creationId xmlns:a16="http://schemas.microsoft.com/office/drawing/2014/main" id="{CC10FD41-312A-41BA-B93B-798D4E4C2BF0}"/>
              </a:ext>
            </a:extLst>
          </p:cNvPr>
          <p:cNvCxnSpPr/>
          <p:nvPr>
            <p:custDataLst>
              <p:tags r:id="rId42"/>
            </p:custDataLst>
          </p:nvPr>
        </p:nvCxnSpPr>
        <p:spPr bwMode="gray">
          <a:xfrm>
            <a:off x="11112500" y="2270125"/>
            <a:ext cx="246063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9" name="Rectangle 118">
            <a:extLst>
              <a:ext uri="{FF2B5EF4-FFF2-40B4-BE49-F238E27FC236}">
                <a16:creationId xmlns:a16="http://schemas.microsoft.com/office/drawing/2014/main" id="{DBE10D3E-9631-AF81-C749-AC9B3306A647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10044113" y="2292350"/>
            <a:ext cx="411162" cy="3175"/>
          </a:xfrm>
          <a:prstGeom prst="rect">
            <a:avLst/>
          </a:prstGeom>
          <a:solidFill>
            <a:srgbClr val="2959A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id="{F862CE05-80D2-B288-AD3A-140E98EC88DE}"/>
              </a:ext>
            </a:extLst>
          </p:cNvPr>
          <p:cNvGraphicFramePr/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2750847488"/>
              </p:ext>
            </p:extLst>
          </p:nvPr>
        </p:nvGraphicFramePr>
        <p:xfrm>
          <a:off x="6551613" y="1435100"/>
          <a:ext cx="5424487" cy="1668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6"/>
          </a:graphicData>
        </a:graphic>
      </p:graphicFrame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6108899F-A016-B389-27BB-6AC843178FFA}"/>
              </a:ext>
            </a:extLst>
          </p:cNvPr>
          <p:cNvCxnSpPr/>
          <p:nvPr>
            <p:custDataLst>
              <p:tags r:id="rId45"/>
            </p:custDataLst>
          </p:nvPr>
        </p:nvCxnSpPr>
        <p:spPr bwMode="auto">
          <a:xfrm flipH="1" flipV="1">
            <a:off x="7772400" y="2405063"/>
            <a:ext cx="71438" cy="1031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387B034A-BCC8-4F29-BA80-0C48245257B6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8691563" y="3071813"/>
            <a:ext cx="4857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028EEA-F366-426A-BEC0-9C1693046A75}" type="datetime'T''''''''''''rac''k''ed ''P''''''''a''v''''''''e''r''''''s'">
              <a:rPr lang="en-US" altLang="en-US" sz="1200" smtClean="0"/>
              <a:pPr/>
              <a:t>Tracked Pavers</a:t>
            </a:fld>
            <a:endParaRPr lang="en-US" sz="1200" dirty="0"/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9634538" y="2214563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25B354-CCAB-4692-A0FC-712EEDC3889F}" type="datetime'''''''''''2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2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9429750" y="2225675"/>
            <a:ext cx="122238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27275F-CFCA-4F34-8B9F-81102CDF78B4}" type="datetime'''''''''''9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9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A3CADD7-7820-4458-AC6F-FA8FD87107E0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9256713" y="3071813"/>
            <a:ext cx="67151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056488-6004-48C5-A431-80D78B8E04BA}" type="datetime'P''neu''mat''''''''ic T''yre'''' ''''R''''o''l''''''l''ers'">
              <a:rPr lang="en-US" altLang="en-US" sz="1200" smtClean="0"/>
              <a:pPr/>
              <a:t>Pneumatic Tyre Rollers</a:t>
            </a:fld>
            <a:endParaRPr lang="en-US" sz="1200" dirty="0"/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10291763" y="2209800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1794A6-1612-42A8-8382-6AFA78F83FF7}" type="datetime'''0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10086975" y="2211388"/>
            <a:ext cx="122238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4DFF96-EFC0-4212-BDFA-680A14C21A4A}" type="datetime'''''''''''''''2''''''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2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6D5829DA-CE39-46F5-BDF6-38B5093029CA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10033000" y="3071813"/>
            <a:ext cx="43338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B40246-11EA-4C09-9589-00CB645C7340}" type="datetime'''M''''''''i''l''''''l''''''''i''''''''ng'''' Tr''''ack'">
              <a:rPr lang="en-US" altLang="en-US" sz="1200" smtClean="0"/>
              <a:pPr/>
              <a:t>Milling Track</a:t>
            </a:fld>
            <a:endParaRPr lang="en-US" sz="1200" dirty="0"/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10948988" y="2187575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37E4C9E-1322-465F-88D0-9B0EE0A61DF1}" type="datetime'0''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10704513" y="2198688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A602F30-BEC3-40F2-A292-3E38AA6540CF}" type="datetime'''''''''''''''''''''''''''''''1''''3'">
              <a:rPr lang="en-US" altLang="en-US" sz="1200" smtClean="0">
                <a:solidFill>
                  <a:schemeClr val="bg1"/>
                </a:solidFill>
                <a:effectLst/>
              </a:rPr>
              <a:pPr/>
              <a:t>13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6861175" y="2625725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212C5D6-1F31-48DA-AC74-7A4FED19144E}" type="datetime'''''''''''''''''5''''''''''''''''''''''''''''''2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52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11463338" y="1489075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3FFA8B3-7B63-45E3-B473-19E0FCA04A9A}" type="datetime'''''''''''6''''''''1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6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259AC21B-CA9A-4091-B8C2-AE4304BF2346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11407775" y="3071813"/>
            <a:ext cx="3111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E9CEAA-F459-4228-B01B-D674CB8BDDBC}" type="datetime'''''''''''''''''''''''To''''''''''''''''''''''''t''a''l'''''">
              <a:rPr lang="en-US" altLang="en-US" sz="1200" smtClean="0"/>
              <a:pPr/>
              <a:t>Total</a:t>
            </a:fld>
            <a:endParaRPr lang="en-US" sz="1200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5AB9E10-898B-4A06-9BA4-137C519BED17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6561138" y="3071813"/>
            <a:ext cx="8001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05A89F-4CB9-4CFB-B2D2-D04CD3177FDB}" type="datetime'''''S''i''''ngle'' D''rum Ro''''''llers (Soil Comp''actors)'">
              <a:rPr lang="en-US" altLang="en-US" sz="1200" smtClean="0"/>
              <a:pPr/>
              <a:t>Single Drum Rollers (Soil Compactors)</a:t>
            </a:fld>
            <a:endParaRPr lang="en-US" sz="12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32FA031-C726-4A08-8E0A-D400A00966DC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7218363" y="3071813"/>
            <a:ext cx="800100" cy="825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FEF62D-CEEF-4BFD-AEB9-B15B76C5B4E8}" type="datetime'Do''''''uble Drum'''' Rollers (''Tan''d''em ''Comp''actors)'">
              <a:rPr lang="en-US" altLang="en-US" sz="1200" smtClean="0"/>
              <a:pPr/>
              <a:t>Double Drum Rollers (Tandem Compactors)</a:t>
            </a:fld>
            <a:endParaRPr lang="en-US" sz="1200" dirty="0"/>
          </a:p>
        </p:txBody>
      </p:sp>
      <p:sp>
        <p:nvSpPr>
          <p:cNvPr id="167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8318500" y="2276475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692CD4-20E7-4B23-A076-04CF68E42701}" type="datetime'''''''''''''''''''''''''''''0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8074025" y="2297113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816FC9E-6B8B-40A3-A031-2455C163A6B1}" type="datetime'''''''''''''''''''''''''''''2''''''''''''''''''''''3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23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1A99281E-43BA-442A-9081-25DD3CEE0B0E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7991475" y="3071813"/>
            <a:ext cx="56991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ED7507-43BE-4834-BEA7-7DE0B82A19C7}" type="datetime'''''''Whe''''el''''''ed'' ''''''''P''''''''''ave''''''rs'">
              <a:rPr lang="en-US" altLang="en-US" sz="1200" smtClean="0"/>
              <a:pPr/>
              <a:t>Wheeled Pavers</a:t>
            </a:fld>
            <a:endParaRPr lang="en-US" sz="1200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5C6D661-AF71-4045-849A-6B5AF82013F0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8977313" y="2233613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DE66E8-6AC8-46CE-8183-88C177EA04BB}" type="datetime'0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8731250" y="2254250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923AE6-C021-4E66-8038-7E9D27594053}" type="datetime'''2''''''''''''''''''''''''''''''4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24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3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6823075" y="2460625"/>
            <a:ext cx="277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254713-FB3F-4BB9-9AA2-A43A07B164BD}" type="datetime'''''''''''''''''''''''''''''''2''''''0''1'''''''''''">
              <a:rPr lang="en-US" altLang="en-US" sz="1200" smtClean="0"/>
              <a:pPr/>
              <a:t>201</a:t>
            </a:fld>
            <a:endParaRPr lang="en-US" sz="1200" dirty="0"/>
          </a:p>
        </p:txBody>
      </p:sp>
      <p:sp>
        <p:nvSpPr>
          <p:cNvPr id="183" name="Text Placeholder 2">
            <a:extLst>
              <a:ext uri="{FF2B5EF4-FFF2-40B4-BE49-F238E27FC236}">
                <a16:creationId xmlns:a16="http://schemas.microsoft.com/office/drawing/2014/main" id="{5F3A0703-A6D2-4DAF-9696-30CBF70439C7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7480300" y="2209800"/>
            <a:ext cx="277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3A1F9F-AA70-4E84-92B9-37246F2CCB54}" type="datetime'''''''''''''1''''''''''''''''''''''''''''''''''''47'''''">
              <a:rPr lang="en-US" altLang="en-US" sz="1200" smtClean="0"/>
              <a:pPr/>
              <a:t>147</a:t>
            </a:fld>
            <a:endParaRPr lang="en-US" sz="1200" dirty="0"/>
          </a:p>
        </p:txBody>
      </p:sp>
      <p:sp>
        <p:nvSpPr>
          <p:cNvPr id="23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8175625" y="2111375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289556-9FFB-4DF5-9FC2-0DFC71D953DF}" type="datetime'''2''''3'''''''''''''''''''''''''''''''''''''''''''''''''''">
              <a:rPr lang="en-US" altLang="en-US" sz="1200" smtClean="0"/>
              <a:pPr/>
              <a:t>23</a:t>
            </a:fld>
            <a:endParaRPr lang="en-US" sz="1200" dirty="0"/>
          </a:p>
        </p:txBody>
      </p:sp>
      <p:sp>
        <p:nvSpPr>
          <p:cNvPr id="23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8834438" y="2068513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4A7AA1-CF82-4971-949B-DD75A4E9C159}" type="datetime'''2''''''''''''''''''''''4'">
              <a:rPr lang="en-US" altLang="en-US" sz="1200" smtClean="0"/>
              <a:pPr/>
              <a:t>24</a:t>
            </a:fld>
            <a:endParaRPr lang="en-US" sz="1200" dirty="0"/>
          </a:p>
        </p:txBody>
      </p:sp>
      <p:sp>
        <p:nvSpPr>
          <p:cNvPr id="23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9491663" y="2049463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9C178B-4353-4E83-93B5-294653F810BC}" type="datetime'''''''''''''''''''''''1''''''''''''''''''''''''''1'''">
              <a:rPr lang="en-US" altLang="en-US" sz="1200" smtClean="0"/>
              <a:pPr/>
              <a:t>11</a:t>
            </a:fld>
            <a:endParaRPr lang="en-US" sz="1200" dirty="0"/>
          </a:p>
        </p:txBody>
      </p:sp>
      <p:sp>
        <p:nvSpPr>
          <p:cNvPr id="23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10188575" y="2044700"/>
            <a:ext cx="122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8CBA26-DBD4-4DCF-A4BA-7A5206B8ACA2}" type="datetime'''''''''''''2'''''''''''''''''''''''''''''''''''''''''''''''">
              <a:rPr lang="en-US" altLang="en-US" sz="1200" smtClean="0"/>
              <a:pPr/>
              <a:t>2</a:t>
            </a:fld>
            <a:endParaRPr lang="en-US" sz="1200" dirty="0"/>
          </a:p>
        </p:txBody>
      </p:sp>
      <p:sp>
        <p:nvSpPr>
          <p:cNvPr id="237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10806113" y="1857375"/>
            <a:ext cx="2000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A07B51-50C9-4E23-B787-CE70DE04A941}" type="datetime'''''''''''''''''''''''''''''1''''''''''3'">
              <a:rPr lang="en-US" altLang="en-US" sz="1200" smtClean="0"/>
              <a:pPr/>
              <a:t>13</a:t>
            </a:fld>
            <a:br>
              <a:rPr lang="en-US" altLang="en-US" sz="1200" dirty="0"/>
            </a:br>
            <a:endParaRPr lang="en-US" sz="1200" dirty="0"/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11425238" y="1323975"/>
            <a:ext cx="277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8546E0-381A-4B13-BBCC-CB52BC239F5C}" type="datetime'''''4''''''''''''''''''''''2''''1'''''''''''''''''''''''">
              <a:rPr lang="en-US" altLang="en-US" sz="1200" smtClean="0"/>
              <a:pPr/>
              <a:t>421</a:t>
            </a:fld>
            <a:endParaRPr lang="en-US" sz="1200" dirty="0"/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11B5ABAF-61F4-4DE7-87B5-CDBC70BA8F6A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10691813" y="3071813"/>
            <a:ext cx="4302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5549EC-00A9-429B-B5A3-913BB153FCA9}" type="datetime'''O''t''h''''''''''''''''''''''''e''''''''r''s'''''''''">
              <a:rPr lang="en-US" altLang="en-US" sz="1200" smtClean="0"/>
              <a:pPr/>
              <a:t>Others</a:t>
            </a:fld>
            <a:endParaRPr lang="en-US" sz="1200" dirty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922B16C-64BB-4E9A-A389-9FD2BCF532ED}"/>
              </a:ext>
            </a:extLst>
          </p:cNvPr>
          <p:cNvCxnSpPr/>
          <p:nvPr>
            <p:custDataLst>
              <p:tags r:id="rId74"/>
            </p:custDataLst>
          </p:nvPr>
        </p:nvCxnSpPr>
        <p:spPr bwMode="gray">
          <a:xfrm>
            <a:off x="3813175" y="5246688"/>
            <a:ext cx="36830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2C7B780-4450-4239-BF77-89E3E2B7627B}"/>
              </a:ext>
            </a:extLst>
          </p:cNvPr>
          <p:cNvCxnSpPr/>
          <p:nvPr>
            <p:custDataLst>
              <p:tags r:id="rId75"/>
            </p:custDataLst>
          </p:nvPr>
        </p:nvCxnSpPr>
        <p:spPr bwMode="gray">
          <a:xfrm>
            <a:off x="1843088" y="5440363"/>
            <a:ext cx="36830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FB2F3A1-6400-4345-AF4C-083340F70B32}"/>
              </a:ext>
            </a:extLst>
          </p:cNvPr>
          <p:cNvCxnSpPr/>
          <p:nvPr>
            <p:custDataLst>
              <p:tags r:id="rId76"/>
            </p:custDataLst>
          </p:nvPr>
        </p:nvCxnSpPr>
        <p:spPr bwMode="gray">
          <a:xfrm>
            <a:off x="2828925" y="5348288"/>
            <a:ext cx="36830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C4CC95F-EBFA-4D07-B9A2-B08AEA6B89E3}"/>
              </a:ext>
            </a:extLst>
          </p:cNvPr>
          <p:cNvCxnSpPr/>
          <p:nvPr>
            <p:custDataLst>
              <p:tags r:id="rId77"/>
            </p:custDataLst>
          </p:nvPr>
        </p:nvCxnSpPr>
        <p:spPr bwMode="gray">
          <a:xfrm>
            <a:off x="4799013" y="5178425"/>
            <a:ext cx="36830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D409B6E-92C5-436C-9371-D8FD74D0C444}"/>
              </a:ext>
            </a:extLst>
          </p:cNvPr>
          <p:cNvCxnSpPr/>
          <p:nvPr>
            <p:custDataLst>
              <p:tags r:id="rId78"/>
            </p:custDataLst>
          </p:nvPr>
        </p:nvCxnSpPr>
        <p:spPr bwMode="gray">
          <a:xfrm>
            <a:off x="5784850" y="5156200"/>
            <a:ext cx="36830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BF9B477-56A4-4D85-89BA-EB9C8AC8AE25}"/>
              </a:ext>
            </a:extLst>
          </p:cNvPr>
          <p:cNvCxnSpPr/>
          <p:nvPr>
            <p:custDataLst>
              <p:tags r:id="rId79"/>
            </p:custDataLst>
          </p:nvPr>
        </p:nvCxnSpPr>
        <p:spPr bwMode="gray">
          <a:xfrm>
            <a:off x="6770688" y="5132388"/>
            <a:ext cx="36830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CA8721B1-034B-4A1C-A4A0-965B000316A8}"/>
              </a:ext>
            </a:extLst>
          </p:cNvPr>
          <p:cNvCxnSpPr/>
          <p:nvPr>
            <p:custDataLst>
              <p:tags r:id="rId80"/>
            </p:custDataLst>
          </p:nvPr>
        </p:nvCxnSpPr>
        <p:spPr bwMode="gray">
          <a:xfrm>
            <a:off x="7756525" y="5097463"/>
            <a:ext cx="36830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AD8A797-BCB1-4B36-AE24-1F0EA9AA9E65}"/>
              </a:ext>
            </a:extLst>
          </p:cNvPr>
          <p:cNvCxnSpPr/>
          <p:nvPr>
            <p:custDataLst>
              <p:tags r:id="rId81"/>
            </p:custDataLst>
          </p:nvPr>
        </p:nvCxnSpPr>
        <p:spPr bwMode="gray">
          <a:xfrm>
            <a:off x="8742363" y="5062538"/>
            <a:ext cx="36830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92B5DF79-9A9D-4467-9CB2-3E6CDA03DC73}"/>
              </a:ext>
            </a:extLst>
          </p:cNvPr>
          <p:cNvCxnSpPr/>
          <p:nvPr>
            <p:custDataLst>
              <p:tags r:id="rId82"/>
            </p:custDataLst>
          </p:nvPr>
        </p:nvCxnSpPr>
        <p:spPr bwMode="gray">
          <a:xfrm>
            <a:off x="9726613" y="5048250"/>
            <a:ext cx="36830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02D5639A-2A0B-44E6-BFF4-5938EE33558F}"/>
              </a:ext>
            </a:extLst>
          </p:cNvPr>
          <p:cNvCxnSpPr/>
          <p:nvPr>
            <p:custDataLst>
              <p:tags r:id="rId83"/>
            </p:custDataLst>
          </p:nvPr>
        </p:nvCxnSpPr>
        <p:spPr bwMode="gray">
          <a:xfrm>
            <a:off x="10712450" y="5035550"/>
            <a:ext cx="368300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69" name="Chart 68">
            <a:extLst>
              <a:ext uri="{FF2B5EF4-FFF2-40B4-BE49-F238E27FC236}">
                <a16:creationId xmlns:a16="http://schemas.microsoft.com/office/drawing/2014/main" id="{49811788-5057-5575-E38F-291BAC335B70}"/>
              </a:ext>
            </a:extLst>
          </p:cNvPr>
          <p:cNvGraphicFramePr/>
          <p:nvPr>
            <p:custDataLst>
              <p:tags r:id="rId84"/>
            </p:custDataLst>
            <p:extLst>
              <p:ext uri="{D42A27DB-BD31-4B8C-83A1-F6EECF244321}">
                <p14:modId xmlns:p14="http://schemas.microsoft.com/office/powerpoint/2010/main" val="2245962286"/>
              </p:ext>
            </p:extLst>
          </p:nvPr>
        </p:nvGraphicFramePr>
        <p:xfrm>
          <a:off x="958850" y="4359275"/>
          <a:ext cx="11006138" cy="1350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7"/>
          </a:graphicData>
        </a:graphic>
      </p:graphicFrame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D3D3CAE-0857-4B1E-BE13-53A8062A66E2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4179889" y="5699125"/>
            <a:ext cx="6191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2A7131-1D6E-4FB1-95B9-86FE824259CE}" type="datetime'''St''''''''''a''''tic'''''' Jaw Cru''''''''''''''''''s''hers'">
              <a:rPr lang="en-US" altLang="en-US" sz="1200" smtClean="0"/>
              <a:pPr/>
              <a:t>Static Jaw Crushers</a:t>
            </a:fld>
            <a:endParaRPr lang="en-US" sz="1200" dirty="0"/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5570538" y="5073650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84DEB5-8914-4F53-A81D-42FC5D05C5AE}" type="datetime'''''''''''0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9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5260975" y="5084763"/>
            <a:ext cx="122238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E6F6EE-8942-4592-9C97-2862C062D0F5}" type="datetime'''8''''''''''''''''''''''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8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30ABAA79-140D-47C1-B40D-76760DDB2648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5024437" y="5699125"/>
            <a:ext cx="90328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40D94A-DEA3-4D1C-8550-4D8C781E29EE}" type="datetime'''W''h''''''''ee''l''ed C''on''e ''''C''ru''''sh''e''r''''s'">
              <a:rPr lang="en-US" altLang="en-US" sz="1200" smtClean="0"/>
              <a:pPr/>
              <a:t>Wheeled Cone Crushers</a:t>
            </a:fld>
            <a:endParaRPr lang="en-US" sz="1200" dirty="0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6556375" y="5051425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7D2B66-42E5-4C79-BAC4-802AED8331BA}" type="datetime'''''''''''''''''''''''''''''''''''''''''1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97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6246813" y="5062538"/>
            <a:ext cx="122238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B7B7FB-D9A8-48C1-9FC9-95DA0DB0BCB2}" type="datetime'''''''''''''''''''''''''8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8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B4D9F90B-DC05-416E-902A-E5F96927A1D8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6053139" y="5699125"/>
            <a:ext cx="81597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E4A8CC-6260-4C52-ACE2-9D29E9ECEE1C}" type="datetime'Wh''''ee''''''l''ed'' J''a''''''''''''w ''''Crus''''''hers'''">
              <a:rPr lang="en-US" altLang="en-US" sz="1200" smtClean="0"/>
              <a:pPr/>
              <a:t>Wheeled Jaw Crushers</a:t>
            </a:fld>
            <a:endParaRPr lang="en-US" sz="1200" dirty="0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7542213" y="5018088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819792-EB45-41B3-B113-37E5B326FF0B}" type="datetime'''''''''''''''''''''''3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3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7192963" y="5035550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466C2E-D0A6-4CB1-8F18-D694C208B511}" type="datetime'''''''1''''''''''''''''''''''''0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1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23DC6693-7D19-4B6F-A7EC-A8B83DC95867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7072312" y="5699125"/>
            <a:ext cx="75088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368533-174B-43ED-B64B-52BD7AC97C7B}" type="datetime'''Tra''''ck''''''e''''''d'''''' ''Jaw'' Cr''''''ushe''rs'">
              <a:rPr lang="en-US" altLang="en-US" sz="1200" smtClean="0"/>
              <a:pPr/>
              <a:t>Tracked Jaw Crushers</a:t>
            </a:fld>
            <a:endParaRPr lang="en-US" sz="1200" dirty="0"/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8528050" y="4984750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7E562F-2A25-414F-BF8C-743A2BF286DD}" type="datetime'''''''''''4''''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4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C1B7CF2D-C207-4928-A331-64071A1A668C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8013700" y="5699125"/>
            <a:ext cx="8382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A24808-DBDD-4880-877A-29E57E8D3F61}" type="datetime'Tra''''ck''e''''''''d Con''e'''''''' ''Cr''u''''''she''r'''">
              <a:rPr lang="en-US" altLang="en-US" sz="1200" smtClean="0"/>
              <a:pPr/>
              <a:t>Tracked Cone Crusher</a:t>
            </a:fld>
            <a:endParaRPr lang="en-US" sz="1200" dirty="0"/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9512300" y="4965700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B9678C-8D4C-41CE-91F7-441FB34DDE20}" type="datetime'''''''''''''0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9204325" y="4972050"/>
            <a:ext cx="122238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3D46E8-F64B-4DA2-9F72-F7E712C7D8EC}" type="datetime'''''''''''''''''''''''''''''5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5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1CD8572-CB63-4D19-822F-E419118618A8}"/>
              </a:ext>
            </a:extLst>
          </p:cNvPr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9134475" y="5699125"/>
            <a:ext cx="569913" cy="660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71C00C-9B2E-4E30-AB05-435BBDF3C446}" type="datetime'Wheel''ed ''I''mpact C''''''r''us''he''''''rs (VS''''I/H''SI)'">
              <a:rPr lang="en-US" altLang="en-US" sz="1200" smtClean="0"/>
              <a:pPr/>
              <a:t>Wheeled Impact Crushers (VSI/HSI)</a:t>
            </a:fld>
            <a:endParaRPr lang="en-US" sz="1200" dirty="0"/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10498138" y="4953000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C47D64-21D9-4A5E-8860-B387DFA2EFB1}" type="datetime'''''''''''''''''''''''0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8218488" y="5002213"/>
            <a:ext cx="122238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12E21C-62E1-4DB6-B883-4305943851C8}" type="datetime'''''''''''''''''''''''''''''9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9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3A595C0E-AD47-4964-9799-860C8347A081}"/>
              </a:ext>
            </a:extLst>
          </p:cNvPr>
          <p:cNvSpPr>
            <a:spLocks noGrp="1"/>
          </p:cNvSpPr>
          <p:nvPr>
            <p:custDataLst>
              <p:tags r:id="rId102"/>
            </p:custDataLst>
          </p:nvPr>
        </p:nvSpPr>
        <p:spPr bwMode="auto">
          <a:xfrm>
            <a:off x="9928225" y="5699125"/>
            <a:ext cx="949325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B55942-5316-4B71-958A-CA70667849BD}" type="datetime'Tra''''ck''ed Impact'' ''Cru''''''sher'' ''(HIS/''VSI'')'''">
              <a:rPr lang="en-US" altLang="en-US" sz="1200" smtClean="0"/>
              <a:pPr/>
              <a:t>Tracked Impact Crusher (HIS/VSI)</a:t>
            </a:fld>
            <a:endParaRPr lang="en-US" sz="1200" dirty="0"/>
          </a:p>
        </p:txBody>
      </p:sp>
      <p:sp>
        <p:nvSpPr>
          <p:cNvPr id="210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11288713" y="4410075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3465EB7-EFA5-41B6-898C-FB40FB8030DB}" type="datetime'''''''''''''''''''''''''3''''''''''''''''''''''8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38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43AE8467-A6AD-414D-A353-A785A061385E}"/>
              </a:ext>
            </a:extLst>
          </p:cNvPr>
          <p:cNvSpPr>
            <a:spLocks noGrp="1"/>
          </p:cNvSpPr>
          <p:nvPr>
            <p:custDataLst>
              <p:tags r:id="rId104"/>
            </p:custDataLst>
          </p:nvPr>
        </p:nvSpPr>
        <p:spPr bwMode="auto">
          <a:xfrm>
            <a:off x="11233150" y="5699125"/>
            <a:ext cx="3111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D88872-E1E6-4EA4-9F4D-DAF98A1D4866}" type="datetime'T''''''''''''''o''''''''''''''''t''''''a''''''''l'''''''">
              <a:rPr lang="en-US" altLang="en-US" sz="1200" smtClean="0"/>
              <a:pPr/>
              <a:t>Total</a:t>
            </a:fld>
            <a:endParaRPr lang="en-US" sz="1200" dirty="0"/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>
            <a:off x="1589088" y="5389563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D19703-44ED-443D-9232-B1487DEEDB18}" type="datetime'''''''''''''''''''''''''2''''''''''''''''''4'">
              <a:rPr lang="en-US" altLang="en-US" sz="1200" smtClean="0">
                <a:solidFill>
                  <a:schemeClr val="bg1"/>
                </a:solidFill>
                <a:effectLst/>
              </a:rPr>
              <a:pPr/>
              <a:t>24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6BE7AC3A-A114-4E5C-96D8-64654F4C336B}"/>
              </a:ext>
            </a:extLst>
          </p:cNvPr>
          <p:cNvSpPr>
            <a:spLocks noGrp="1"/>
          </p:cNvSpPr>
          <p:nvPr>
            <p:custDataLst>
              <p:tags r:id="rId106"/>
            </p:custDataLst>
          </p:nvPr>
        </p:nvSpPr>
        <p:spPr bwMode="auto">
          <a:xfrm>
            <a:off x="1225550" y="5699125"/>
            <a:ext cx="615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799C49-869A-4B1D-9E9A-A4311BC65038}" type="datetime'''''S''c''''''r''''''''''e''''''en''er''''''''''s'''''''''''">
              <a:rPr lang="en-US" altLang="en-US" sz="1200" smtClean="0"/>
              <a:pPr/>
              <a:t>Screeners</a:t>
            </a:fld>
            <a:endParaRPr lang="en-US" sz="1200" dirty="0"/>
          </a:p>
        </p:txBody>
      </p:sp>
      <p:sp>
        <p:nvSpPr>
          <p:cNvPr id="20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07"/>
            </p:custDataLst>
          </p:nvPr>
        </p:nvSpPr>
        <p:spPr bwMode="gray">
          <a:xfrm>
            <a:off x="10188575" y="4959350"/>
            <a:ext cx="122238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F58B46-1100-4AA8-BE60-416F50CBA4FF}" type="datetime'''''''''''''5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5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08"/>
            </p:custDataLst>
          </p:nvPr>
        </p:nvSpPr>
        <p:spPr bwMode="gray">
          <a:xfrm>
            <a:off x="2614613" y="5265738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0E21BE-0E4E-4C67-9FCF-9D0CC090912C}" type="datetime'''''0''''''''''''''''''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09"/>
            </p:custDataLst>
          </p:nvPr>
        </p:nvSpPr>
        <p:spPr bwMode="gray">
          <a:xfrm>
            <a:off x="2265363" y="5311775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BF72975-2D95-4945-9E3F-4CC4E6DBCF69}" type="datetime'''''''''''''''''3''''4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34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CDEAD128-FF4D-4A10-8F71-F869D0786995}"/>
              </a:ext>
            </a:extLst>
          </p:cNvPr>
          <p:cNvSpPr>
            <a:spLocks noGrp="1"/>
          </p:cNvSpPr>
          <p:nvPr>
            <p:custDataLst>
              <p:tags r:id="rId110"/>
            </p:custDataLst>
          </p:nvPr>
        </p:nvSpPr>
        <p:spPr bwMode="auto">
          <a:xfrm>
            <a:off x="2111375" y="5699125"/>
            <a:ext cx="8175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81B1E7-4151-4D4D-98BB-8A23828B9669}" type="datetime'S''''''ta''t''ic Impact Crushe''rs (VSI/HS''''I'''''')'''">
              <a:rPr lang="en-US" altLang="en-US" sz="1200" smtClean="0"/>
              <a:pPr/>
              <a:t>Static Impact Crushers (VSI/HSI)</a:t>
            </a:fld>
            <a:endParaRPr lang="en-US" sz="1200" dirty="0"/>
          </a:p>
        </p:txBody>
      </p:sp>
      <p:sp>
        <p:nvSpPr>
          <p:cNvPr id="19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11"/>
            </p:custDataLst>
          </p:nvPr>
        </p:nvSpPr>
        <p:spPr bwMode="gray">
          <a:xfrm>
            <a:off x="3598863" y="5172075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6A05EA-33A4-4D05-AA64-90CFC6EAE7C7}" type="datetime'''''''''''''''''''''''''''''''''''''''''''''''''''''''6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6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8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12"/>
            </p:custDataLst>
          </p:nvPr>
        </p:nvSpPr>
        <p:spPr bwMode="gray">
          <a:xfrm>
            <a:off x="3251200" y="5222875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574699E-EE83-4D38-A45C-194640AA9109}" type="datetime'''''''''''''''''''''''''''''''''3''''2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32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4A10FCC9-AFB9-4985-AF0D-8FEF05F39CAE}"/>
              </a:ext>
            </a:extLst>
          </p:cNvPr>
          <p:cNvSpPr>
            <a:spLocks noGrp="1"/>
          </p:cNvSpPr>
          <p:nvPr>
            <p:custDataLst>
              <p:tags r:id="rId113"/>
            </p:custDataLst>
          </p:nvPr>
        </p:nvSpPr>
        <p:spPr bwMode="auto">
          <a:xfrm>
            <a:off x="3152774" y="5699125"/>
            <a:ext cx="7064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C5122F-AC99-46DC-9785-8F4675561763}" type="datetime'S''ta''''t''i''c'''' Cone'''''''''' ''''''''Cru''shers'''''">
              <a:rPr lang="en-US" altLang="en-US" sz="1200" smtClean="0"/>
              <a:pPr/>
              <a:t>Static Cone Crushers</a:t>
            </a:fld>
            <a:endParaRPr lang="en-US" sz="1200" dirty="0"/>
          </a:p>
        </p:txBody>
      </p:sp>
      <p:sp>
        <p:nvSpPr>
          <p:cNvPr id="19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14"/>
            </p:custDataLst>
          </p:nvPr>
        </p:nvSpPr>
        <p:spPr bwMode="gray">
          <a:xfrm>
            <a:off x="4584700" y="5095875"/>
            <a:ext cx="122238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693102-4E53-42D3-9FB7-54B1C928970A}" type="datetime'''''''''''0'''''''''''''''''">
              <a:rPr lang="en-US" altLang="en-US" sz="1200" smtClean="0">
                <a:solidFill>
                  <a:schemeClr val="bg1"/>
                </a:solidFill>
                <a:effectLst/>
              </a:rPr>
              <a:pPr/>
              <a:t>0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15"/>
            </p:custDataLst>
          </p:nvPr>
        </p:nvSpPr>
        <p:spPr bwMode="gray">
          <a:xfrm>
            <a:off x="4235450" y="5129213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5AABF53-2F14-4D75-8049-F5088B52F78E}" type="datetime'''''''''''''''''''''''''''''''''''2''''''''''''''''5'">
              <a:rPr lang="en-US" altLang="en-US" sz="1200" smtClean="0">
                <a:solidFill>
                  <a:schemeClr val="bg1"/>
                </a:solidFill>
                <a:effectLst/>
              </a:rPr>
              <a:pPr/>
              <a:t>25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16"/>
            </p:custDataLst>
          </p:nvPr>
        </p:nvSpPr>
        <p:spPr bwMode="gray">
          <a:xfrm>
            <a:off x="2419350" y="5100638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99DF0B-3470-43EE-BA3F-777839C32374}" type="datetime'''''''3''''''''''''''''''''4'''''''">
              <a:rPr lang="en-US" altLang="en-US" sz="1200" smtClean="0"/>
              <a:pPr/>
              <a:t>34</a:t>
            </a:fld>
            <a:endParaRPr lang="en-US" sz="1200" dirty="0"/>
          </a:p>
        </p:txBody>
      </p:sp>
      <p:sp>
        <p:nvSpPr>
          <p:cNvPr id="21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17"/>
            </p:custDataLst>
          </p:nvPr>
        </p:nvSpPr>
        <p:spPr bwMode="gray">
          <a:xfrm>
            <a:off x="3405188" y="5006975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AFFAE8-9A1D-46E8-8538-F6C772B12A12}" type="datetime'''3''''''''''''''''''''''''''''''''''8'">
              <a:rPr lang="en-US" altLang="en-US" sz="1200" smtClean="0"/>
              <a:pPr/>
              <a:t>38</a:t>
            </a:fld>
            <a:endParaRPr lang="en-US" sz="1200" dirty="0"/>
          </a:p>
        </p:txBody>
      </p:sp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18"/>
            </p:custDataLst>
          </p:nvPr>
        </p:nvSpPr>
        <p:spPr bwMode="gray">
          <a:xfrm>
            <a:off x="4389438" y="4930775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B8336E-F5EB-49A8-930C-EE192F9301B9}" type="datetime'''''''2''''''''''''''''''''''''''''''''''''''''''5'''''''">
              <a:rPr lang="en-US" altLang="en-US" sz="1200" smtClean="0"/>
              <a:pPr/>
              <a:t>25</a:t>
            </a:fld>
            <a:endParaRPr lang="en-US" sz="1200" dirty="0"/>
          </a:p>
        </p:txBody>
      </p:sp>
      <p:sp>
        <p:nvSpPr>
          <p:cNvPr id="22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19"/>
            </p:custDataLst>
          </p:nvPr>
        </p:nvSpPr>
        <p:spPr bwMode="gray">
          <a:xfrm>
            <a:off x="5414963" y="4908550"/>
            <a:ext cx="122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BA3E1B-BA87-42DC-9172-345ED9E1F6B0}" type="datetime'''''''''''''''''''''''''''''''''''''''''''8'">
              <a:rPr lang="en-US" altLang="en-US" sz="1200" smtClean="0"/>
              <a:pPr/>
              <a:t>8</a:t>
            </a:fld>
            <a:endParaRPr lang="en-US" sz="1200" dirty="0"/>
          </a:p>
        </p:txBody>
      </p:sp>
      <p:sp>
        <p:nvSpPr>
          <p:cNvPr id="22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20"/>
            </p:custDataLst>
          </p:nvPr>
        </p:nvSpPr>
        <p:spPr bwMode="gray">
          <a:xfrm>
            <a:off x="6400800" y="4886325"/>
            <a:ext cx="122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C3C00C-AA3A-48D2-AAC7-369CF0211B75}" type="datetime'''''''''''''''''9'''''''''''''''''''''''''''''''''''''">
              <a:rPr lang="en-US" altLang="en-US" sz="1200" smtClean="0"/>
              <a:pPr/>
              <a:t>9</a:t>
            </a:fld>
            <a:endParaRPr lang="en-US" sz="1200" dirty="0"/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21"/>
            </p:custDataLst>
          </p:nvPr>
        </p:nvSpPr>
        <p:spPr bwMode="gray">
          <a:xfrm>
            <a:off x="1433513" y="5224463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80E006-6454-45B0-8D93-AE98621F5EB4}" type="datetime'6''''''9'''''''''''''''''''''''''''">
              <a:rPr lang="en-US" altLang="en-US" sz="1200" smtClean="0"/>
              <a:pPr/>
              <a:t>69</a:t>
            </a:fld>
            <a:endParaRPr lang="en-US" sz="1200" dirty="0"/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22"/>
            </p:custDataLst>
          </p:nvPr>
        </p:nvSpPr>
        <p:spPr bwMode="gray">
          <a:xfrm>
            <a:off x="8332788" y="4819650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9C5593-6BDB-4E8A-8363-2F43BCDFFB21}" type="datetime'''''''''''''''''''''''1''''''''''''''''''''''''3'">
              <a:rPr lang="en-US" altLang="en-US" sz="1200" smtClean="0"/>
              <a:pPr/>
              <a:t>13</a:t>
            </a:fld>
            <a:endParaRPr lang="en-US" sz="1200" dirty="0"/>
          </a:p>
        </p:txBody>
      </p:sp>
      <p:sp>
        <p:nvSpPr>
          <p:cNvPr id="22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23"/>
            </p:custDataLst>
          </p:nvPr>
        </p:nvSpPr>
        <p:spPr bwMode="gray">
          <a:xfrm>
            <a:off x="9358313" y="4800600"/>
            <a:ext cx="122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6CE33D-7CA8-4913-82E0-26843A5570F0}" type="datetime'''''''''''''''''''''''''5'''''''''''''">
              <a:rPr lang="en-US" altLang="en-US" sz="1200" smtClean="0"/>
              <a:pPr/>
              <a:t>5</a:t>
            </a:fld>
            <a:endParaRPr lang="en-US" sz="1200" dirty="0"/>
          </a:p>
        </p:txBody>
      </p:sp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24"/>
            </p:custDataLst>
          </p:nvPr>
        </p:nvSpPr>
        <p:spPr bwMode="gray">
          <a:xfrm>
            <a:off x="10342563" y="4787900"/>
            <a:ext cx="1222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16865B-2AD6-46A8-84E2-EB376EB99ED2}" type="datetime'''''''''''''''''''''''''''''''''''''5'''''''''">
              <a:rPr lang="en-US" altLang="en-US" sz="1200" smtClean="0"/>
              <a:pPr/>
              <a:t>5</a:t>
            </a:fld>
            <a:endParaRPr lang="en-US" sz="1200" dirty="0"/>
          </a:p>
        </p:txBody>
      </p:sp>
      <p:sp>
        <p:nvSpPr>
          <p:cNvPr id="227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25"/>
            </p:custDataLst>
          </p:nvPr>
        </p:nvSpPr>
        <p:spPr bwMode="gray">
          <a:xfrm>
            <a:off x="11250613" y="4244975"/>
            <a:ext cx="277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2D6A58-65E6-4508-B942-B54A1C12A7F5}" type="datetime'''''''''''''''''''''''''''''''''21''''''''''''''''''''''9'">
              <a:rPr lang="en-US" altLang="en-US" sz="1200" smtClean="0"/>
              <a:pPr/>
              <a:t>219</a:t>
            </a:fld>
            <a:endParaRPr lang="en-US" sz="1200" dirty="0"/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26"/>
            </p:custDataLst>
          </p:nvPr>
        </p:nvSpPr>
        <p:spPr bwMode="gray">
          <a:xfrm>
            <a:off x="1279525" y="5483225"/>
            <a:ext cx="200025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B3EC445-0D1B-4199-ABFF-6A1F6A357072}" type="datetime'''''''''''''''''''''''''''''''''''''''''''''''''4''5'">
              <a:rPr lang="en-US" altLang="en-US" sz="12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2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27"/>
            </p:custDataLst>
          </p:nvPr>
        </p:nvSpPr>
        <p:spPr bwMode="gray">
          <a:xfrm>
            <a:off x="7346950" y="4852988"/>
            <a:ext cx="2000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115782-A66A-41D9-AE7B-31BAC28D8E27}" type="datetime'''''''''''''''''''1''3'''''''">
              <a:rPr lang="en-US" altLang="en-US" sz="1200" smtClean="0"/>
              <a:pPr/>
              <a:t>13</a:t>
            </a:fld>
            <a:endParaRPr lang="en-US" sz="1200" dirty="0"/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48A9743C-0EC2-4BCE-BB14-383C11982A80}"/>
              </a:ext>
            </a:extLst>
          </p:cNvPr>
          <p:cNvCxnSpPr>
            <a:cxnSpLocks/>
          </p:cNvCxnSpPr>
          <p:nvPr/>
        </p:nvCxnSpPr>
        <p:spPr>
          <a:xfrm flipV="1">
            <a:off x="252949" y="4019531"/>
            <a:ext cx="11346914" cy="102701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9E5EC1E2-6C0A-47DF-B5A6-240BA3BF2B80}"/>
              </a:ext>
            </a:extLst>
          </p:cNvPr>
          <p:cNvCxnSpPr>
            <a:cxnSpLocks/>
          </p:cNvCxnSpPr>
          <p:nvPr/>
        </p:nvCxnSpPr>
        <p:spPr>
          <a:xfrm flipV="1">
            <a:off x="5974670" y="1492250"/>
            <a:ext cx="0" cy="2294363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>
            <a:extLst>
              <a:ext uri="{FF2B5EF4-FFF2-40B4-BE49-F238E27FC236}">
                <a16:creationId xmlns:a16="http://schemas.microsoft.com/office/drawing/2014/main" id="{0F45B53C-05F1-485B-B39F-59D19E8B0D8D}"/>
              </a:ext>
            </a:extLst>
          </p:cNvPr>
          <p:cNvSpPr/>
          <p:nvPr/>
        </p:nvSpPr>
        <p:spPr>
          <a:xfrm>
            <a:off x="441325" y="1590675"/>
            <a:ext cx="468313" cy="1606601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CCAD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1E50A0"/>
                </a:solidFill>
              </a:rPr>
              <a:t>Concrete Equipment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53ADCD77-1AEB-419B-B7B7-99DFAAF49CB2}"/>
              </a:ext>
            </a:extLst>
          </p:cNvPr>
          <p:cNvSpPr/>
          <p:nvPr/>
        </p:nvSpPr>
        <p:spPr>
          <a:xfrm>
            <a:off x="457200" y="4295724"/>
            <a:ext cx="461963" cy="1606601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CCAD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1E50A0"/>
                </a:solidFill>
              </a:rPr>
              <a:t>Material Processing Equipment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604FA94D-7C49-418C-AC55-C85181C0FF18}"/>
              </a:ext>
            </a:extLst>
          </p:cNvPr>
          <p:cNvSpPr/>
          <p:nvPr/>
        </p:nvSpPr>
        <p:spPr>
          <a:xfrm>
            <a:off x="6042026" y="1588653"/>
            <a:ext cx="461963" cy="1606601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CCAD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1E50A0"/>
                </a:solidFill>
              </a:rPr>
              <a:t>Road Construction Equipment</a:t>
            </a: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EAD0BFA8-E7D6-4E29-9DEB-3EF3B8CD458B}"/>
              </a:ext>
            </a:extLst>
          </p:cNvPr>
          <p:cNvSpPr>
            <a:spLocks/>
          </p:cNvSpPr>
          <p:nvPr/>
        </p:nvSpPr>
        <p:spPr>
          <a:xfrm>
            <a:off x="1223280" y="6176205"/>
            <a:ext cx="674688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32%</a:t>
            </a: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AB3635D9-A3D9-40C5-A3AB-6D20197EE07D}"/>
              </a:ext>
            </a:extLst>
          </p:cNvPr>
          <p:cNvSpPr>
            <a:spLocks/>
          </p:cNvSpPr>
          <p:nvPr/>
        </p:nvSpPr>
        <p:spPr>
          <a:xfrm>
            <a:off x="2194075" y="6176205"/>
            <a:ext cx="674688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16%</a:t>
            </a: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F5050A4F-8C17-43A6-A362-CD7FBFB2A678}"/>
              </a:ext>
            </a:extLst>
          </p:cNvPr>
          <p:cNvSpPr>
            <a:spLocks/>
          </p:cNvSpPr>
          <p:nvPr/>
        </p:nvSpPr>
        <p:spPr>
          <a:xfrm>
            <a:off x="3164870" y="6176205"/>
            <a:ext cx="674688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17%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4B8CBF43-3D1E-4FBC-AC22-C80525855B21}"/>
              </a:ext>
            </a:extLst>
          </p:cNvPr>
          <p:cNvSpPr>
            <a:spLocks/>
          </p:cNvSpPr>
          <p:nvPr/>
        </p:nvSpPr>
        <p:spPr>
          <a:xfrm>
            <a:off x="4135665" y="6176205"/>
            <a:ext cx="673100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11%</a:t>
            </a: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0EBB6CB9-665D-48D2-BC21-E83DA1A4C7C3}"/>
              </a:ext>
            </a:extLst>
          </p:cNvPr>
          <p:cNvSpPr>
            <a:spLocks/>
          </p:cNvSpPr>
          <p:nvPr/>
        </p:nvSpPr>
        <p:spPr>
          <a:xfrm>
            <a:off x="5104872" y="6176205"/>
            <a:ext cx="673100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4%</a:t>
            </a: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83A83FDC-6A75-4AA0-8D75-B0D8FA2F0C23}"/>
              </a:ext>
            </a:extLst>
          </p:cNvPr>
          <p:cNvSpPr>
            <a:spLocks/>
          </p:cNvSpPr>
          <p:nvPr/>
        </p:nvSpPr>
        <p:spPr>
          <a:xfrm>
            <a:off x="6074079" y="6176206"/>
            <a:ext cx="674688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4%</a:t>
            </a: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985A01F5-BFD0-40C9-9E97-BAF24E77CF6E}"/>
              </a:ext>
            </a:extLst>
          </p:cNvPr>
          <p:cNvSpPr>
            <a:spLocks/>
          </p:cNvSpPr>
          <p:nvPr/>
        </p:nvSpPr>
        <p:spPr>
          <a:xfrm>
            <a:off x="7044874" y="6176206"/>
            <a:ext cx="674688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6%</a:t>
            </a: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30CC5263-85B5-4B11-9E8B-E22CA7ABE191}"/>
              </a:ext>
            </a:extLst>
          </p:cNvPr>
          <p:cNvSpPr>
            <a:spLocks/>
          </p:cNvSpPr>
          <p:nvPr/>
        </p:nvSpPr>
        <p:spPr>
          <a:xfrm>
            <a:off x="8015669" y="6176205"/>
            <a:ext cx="674688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6%</a:t>
            </a: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3BAF0373-43F0-48D6-8D76-9E5E4D6D31BE}"/>
              </a:ext>
            </a:extLst>
          </p:cNvPr>
          <p:cNvSpPr>
            <a:spLocks/>
          </p:cNvSpPr>
          <p:nvPr/>
        </p:nvSpPr>
        <p:spPr>
          <a:xfrm>
            <a:off x="1098996" y="3714086"/>
            <a:ext cx="620713" cy="215267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53%</a:t>
            </a: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925BD827-F42E-440F-ADA4-3132B4E4BFB4}"/>
              </a:ext>
            </a:extLst>
          </p:cNvPr>
          <p:cNvSpPr>
            <a:spLocks/>
          </p:cNvSpPr>
          <p:nvPr/>
        </p:nvSpPr>
        <p:spPr>
          <a:xfrm>
            <a:off x="3161506" y="3714070"/>
            <a:ext cx="674688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7%</a:t>
            </a: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C49B97E2-6DF6-42D7-9338-27F666BD441E}"/>
              </a:ext>
            </a:extLst>
          </p:cNvPr>
          <p:cNvSpPr>
            <a:spLocks/>
          </p:cNvSpPr>
          <p:nvPr/>
        </p:nvSpPr>
        <p:spPr>
          <a:xfrm>
            <a:off x="3871608" y="3714069"/>
            <a:ext cx="674688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4%</a:t>
            </a: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12DADFD5-3F1E-4894-B47D-FD349BE037A7}"/>
              </a:ext>
            </a:extLst>
          </p:cNvPr>
          <p:cNvSpPr>
            <a:spLocks/>
          </p:cNvSpPr>
          <p:nvPr/>
        </p:nvSpPr>
        <p:spPr>
          <a:xfrm>
            <a:off x="4587755" y="3714069"/>
            <a:ext cx="674688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1%</a:t>
            </a:r>
          </a:p>
        </p:txBody>
      </p:sp>
      <p:sp>
        <p:nvSpPr>
          <p:cNvPr id="68" name="ee4pFootnotes">
            <a:extLst>
              <a:ext uri="{FF2B5EF4-FFF2-40B4-BE49-F238E27FC236}">
                <a16:creationId xmlns:a16="http://schemas.microsoft.com/office/drawing/2014/main" id="{E1A0068C-9E13-4498-AF83-0CF13FE28F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593" y="6610414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sym typeface="Trebuchet MS" panose="020B0603020202020204" pitchFamily="34" charset="0"/>
              </a:rPr>
              <a:t>Source: ICEMA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0654C94-CEE6-42F1-B7DF-31E35818C8B8}"/>
              </a:ext>
            </a:extLst>
          </p:cNvPr>
          <p:cNvSpPr txBox="1"/>
          <p:nvPr/>
        </p:nvSpPr>
        <p:spPr>
          <a:xfrm>
            <a:off x="946150" y="1268337"/>
            <a:ext cx="904875" cy="1682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sym typeface="Trebuchet MS" panose="020B0603020202020204" pitchFamily="34" charset="0"/>
              </a:rPr>
              <a:t>Units sold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F3037F68-1AB3-4514-9A0B-49E92CDBC6B2}"/>
              </a:ext>
            </a:extLst>
          </p:cNvPr>
          <p:cNvSpPr/>
          <p:nvPr/>
        </p:nvSpPr>
        <p:spPr>
          <a:xfrm>
            <a:off x="11463338" y="3495329"/>
            <a:ext cx="88423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400" b="1" dirty="0">
                <a:solidFill>
                  <a:srgbClr val="1E50A0"/>
                </a:solidFill>
                <a:sym typeface="Trebuchet MS" panose="020B0603020202020204" pitchFamily="34" charset="0"/>
              </a:rPr>
              <a:t>% sales share 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BEB7DF53-D5C7-4D2D-8909-08CCB07FA0DC}"/>
              </a:ext>
            </a:extLst>
          </p:cNvPr>
          <p:cNvSpPr/>
          <p:nvPr/>
        </p:nvSpPr>
        <p:spPr>
          <a:xfrm>
            <a:off x="11185188" y="5950728"/>
            <a:ext cx="67468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400" b="1" dirty="0">
                <a:solidFill>
                  <a:srgbClr val="1E50A0"/>
                </a:solidFill>
                <a:sym typeface="Trebuchet MS" panose="020B0603020202020204" pitchFamily="34" charset="0"/>
              </a:rPr>
              <a:t>% sales share </a:t>
            </a:r>
          </a:p>
        </p:txBody>
      </p:sp>
      <p:sp>
        <p:nvSpPr>
          <p:cNvPr id="80" name="Title 1">
            <a:extLst>
              <a:ext uri="{FF2B5EF4-FFF2-40B4-BE49-F238E27FC236}">
                <a16:creationId xmlns:a16="http://schemas.microsoft.com/office/drawing/2014/main" id="{E3AE6A6A-9382-3240-6BBA-0C63449FC66B}"/>
              </a:ext>
            </a:extLst>
          </p:cNvPr>
          <p:cNvSpPr txBox="1">
            <a:spLocks/>
          </p:cNvSpPr>
          <p:nvPr/>
        </p:nvSpPr>
        <p:spPr>
          <a:xfrm>
            <a:off x="433239" y="218152"/>
            <a:ext cx="10933350" cy="3323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1E50A0"/>
                </a:solidFill>
                <a:latin typeface="+mn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ub-category wise sales composition (II/II)</a:t>
            </a:r>
            <a:endParaRPr lang="en-US" dirty="0"/>
          </a:p>
          <a:p>
            <a:endParaRPr lang="en-US" b="1" dirty="0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C9409B6D-0869-4B22-B14B-F4D2F9C68661}"/>
              </a:ext>
            </a:extLst>
          </p:cNvPr>
          <p:cNvSpPr>
            <a:spLocks/>
          </p:cNvSpPr>
          <p:nvPr/>
        </p:nvSpPr>
        <p:spPr>
          <a:xfrm>
            <a:off x="2465195" y="3714069"/>
            <a:ext cx="674688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9%</a:t>
            </a: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4EC691EC-54AA-49F5-8FDB-3BE3D5CA4D2C}"/>
              </a:ext>
            </a:extLst>
          </p:cNvPr>
          <p:cNvSpPr>
            <a:spLocks/>
          </p:cNvSpPr>
          <p:nvPr/>
        </p:nvSpPr>
        <p:spPr>
          <a:xfrm>
            <a:off x="1765845" y="3714069"/>
            <a:ext cx="674688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25%</a:t>
            </a: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0186AD9A-15FE-4A9E-BDC8-2D3318A0C6F7}"/>
              </a:ext>
            </a:extLst>
          </p:cNvPr>
          <p:cNvSpPr>
            <a:spLocks/>
          </p:cNvSpPr>
          <p:nvPr/>
        </p:nvSpPr>
        <p:spPr>
          <a:xfrm>
            <a:off x="9099551" y="6166313"/>
            <a:ext cx="673100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2%</a:t>
            </a: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73DBE80C-429F-461D-8304-C03866A5BFBD}"/>
              </a:ext>
            </a:extLst>
          </p:cNvPr>
          <p:cNvSpPr>
            <a:spLocks/>
          </p:cNvSpPr>
          <p:nvPr/>
        </p:nvSpPr>
        <p:spPr>
          <a:xfrm>
            <a:off x="9955668" y="6176206"/>
            <a:ext cx="674688" cy="215302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2%</a:t>
            </a:r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7FD50288-A256-4B3B-8DB8-D004A82222FA}"/>
              </a:ext>
            </a:extLst>
          </p:cNvPr>
          <p:cNvSpPr>
            <a:spLocks/>
          </p:cNvSpPr>
          <p:nvPr/>
        </p:nvSpPr>
        <p:spPr>
          <a:xfrm>
            <a:off x="6676214" y="3714817"/>
            <a:ext cx="588945" cy="185738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48%</a:t>
            </a:r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5F911DAB-1FE6-4C57-A0B8-D1AC376B019A}"/>
              </a:ext>
            </a:extLst>
          </p:cNvPr>
          <p:cNvSpPr>
            <a:spLocks/>
          </p:cNvSpPr>
          <p:nvPr/>
        </p:nvSpPr>
        <p:spPr>
          <a:xfrm>
            <a:off x="7323939" y="3714817"/>
            <a:ext cx="588945" cy="185738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35%</a:t>
            </a:r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E628D926-CBC5-4956-BD0A-4DD5E9470055}"/>
              </a:ext>
            </a:extLst>
          </p:cNvPr>
          <p:cNvSpPr>
            <a:spLocks/>
          </p:cNvSpPr>
          <p:nvPr/>
        </p:nvSpPr>
        <p:spPr>
          <a:xfrm>
            <a:off x="7969138" y="3714817"/>
            <a:ext cx="588945" cy="185738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5%</a:t>
            </a:r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E3CE87A4-45B9-46B0-9D64-5B8B91850593}"/>
              </a:ext>
            </a:extLst>
          </p:cNvPr>
          <p:cNvSpPr>
            <a:spLocks/>
          </p:cNvSpPr>
          <p:nvPr/>
        </p:nvSpPr>
        <p:spPr>
          <a:xfrm>
            <a:off x="8600573" y="3714817"/>
            <a:ext cx="588945" cy="185738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6%</a:t>
            </a:r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8C145BC1-8A9C-40F8-BE2E-75593012E648}"/>
              </a:ext>
            </a:extLst>
          </p:cNvPr>
          <p:cNvSpPr>
            <a:spLocks/>
          </p:cNvSpPr>
          <p:nvPr/>
        </p:nvSpPr>
        <p:spPr>
          <a:xfrm>
            <a:off x="9277507" y="3714817"/>
            <a:ext cx="588945" cy="185738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3%</a:t>
            </a:r>
          </a:p>
        </p:txBody>
      </p:sp>
      <p:sp>
        <p:nvSpPr>
          <p:cNvPr id="118" name="Oval 117">
            <a:extLst>
              <a:ext uri="{FF2B5EF4-FFF2-40B4-BE49-F238E27FC236}">
                <a16:creationId xmlns:a16="http://schemas.microsoft.com/office/drawing/2014/main" id="{228C1C07-62E7-4128-B840-BB559FD7D4E5}"/>
              </a:ext>
            </a:extLst>
          </p:cNvPr>
          <p:cNvSpPr>
            <a:spLocks/>
          </p:cNvSpPr>
          <p:nvPr/>
        </p:nvSpPr>
        <p:spPr>
          <a:xfrm>
            <a:off x="9893497" y="3714817"/>
            <a:ext cx="588945" cy="185738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&lt;1%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F73633E-78DE-4A09-806F-8299F4DBC472}"/>
              </a:ext>
            </a:extLst>
          </p:cNvPr>
          <p:cNvSpPr/>
          <p:nvPr>
            <p:custDataLst>
              <p:tags r:id="rId128"/>
            </p:custDataLst>
          </p:nvPr>
        </p:nvSpPr>
        <p:spPr bwMode="gray">
          <a:xfrm>
            <a:off x="10371138" y="1035050"/>
            <a:ext cx="214313" cy="160338"/>
          </a:xfrm>
          <a:prstGeom prst="rect">
            <a:avLst/>
          </a:prstGeom>
          <a:solidFill>
            <a:srgbClr val="0080F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579A386D-BDCB-4CF0-BBD4-494483A83909}"/>
              </a:ext>
            </a:extLst>
          </p:cNvPr>
          <p:cNvSpPr/>
          <p:nvPr>
            <p:custDataLst>
              <p:tags r:id="rId129"/>
            </p:custDataLst>
          </p:nvPr>
        </p:nvSpPr>
        <p:spPr bwMode="gray">
          <a:xfrm>
            <a:off x="11202988" y="1035050"/>
            <a:ext cx="214313" cy="160338"/>
          </a:xfrm>
          <a:prstGeom prst="rect">
            <a:avLst/>
          </a:prstGeom>
          <a:solidFill>
            <a:srgbClr val="1E50A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30"/>
            </p:custDataLst>
          </p:nvPr>
        </p:nvSpPr>
        <p:spPr bwMode="auto">
          <a:xfrm>
            <a:off x="10636249" y="1042988"/>
            <a:ext cx="4651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5FBB728-1B29-44F2-A79A-0C8214F24222}" type="datetime'''E''''''''x''p''''''''o''r''t''''s'''''''''''''''''">
              <a:rPr lang="en-US" altLang="en-US" sz="1200" smtClean="0"/>
              <a:pPr/>
              <a:t>Exports</a:t>
            </a:fld>
            <a:endParaRPr lang="en-US" sz="1200" dirty="0"/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3066128F-C478-48A4-96CA-CB5884A0263E}"/>
              </a:ext>
            </a:extLst>
          </p:cNvPr>
          <p:cNvSpPr>
            <a:spLocks noGrp="1"/>
          </p:cNvSpPr>
          <p:nvPr>
            <p:custDataLst>
              <p:tags r:id="rId131"/>
            </p:custDataLst>
          </p:nvPr>
        </p:nvSpPr>
        <p:spPr bwMode="auto">
          <a:xfrm>
            <a:off x="11468100" y="1042988"/>
            <a:ext cx="5826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6F4202C-2D84-43F6-BD6F-A4AC6E696988}" type="datetime'''''''''''Do''m''''''''''''''''e''''''s''''''''''t''ic'''">
              <a:rPr lang="en-US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omestic</a:t>
            </a:fld>
            <a:endParaRPr lang="en-US" sz="1200" dirty="0"/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F0D5EC62-C30D-444B-AA19-DAECCEEF1126}"/>
              </a:ext>
            </a:extLst>
          </p:cNvPr>
          <p:cNvSpPr>
            <a:spLocks/>
          </p:cNvSpPr>
          <p:nvPr/>
        </p:nvSpPr>
        <p:spPr>
          <a:xfrm>
            <a:off x="10557186" y="3714817"/>
            <a:ext cx="588945" cy="185738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algn="ctr"/>
            <a:r>
              <a:rPr lang="en-US" sz="1120" dirty="0"/>
              <a:t>3%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5875D35-A0F5-28FC-BB9D-BF20E9E6D1B5}"/>
              </a:ext>
            </a:extLst>
          </p:cNvPr>
          <p:cNvSpPr/>
          <p:nvPr/>
        </p:nvSpPr>
        <p:spPr>
          <a:xfrm>
            <a:off x="5381625" y="3481506"/>
            <a:ext cx="6558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400" b="1" dirty="0">
                <a:solidFill>
                  <a:srgbClr val="1E50A0"/>
                </a:solidFill>
                <a:sym typeface="Trebuchet MS" panose="020B0603020202020204" pitchFamily="34" charset="0"/>
              </a:rPr>
              <a:t>% sales share </a:t>
            </a:r>
          </a:p>
        </p:txBody>
      </p:sp>
    </p:spTree>
    <p:extLst>
      <p:ext uri="{BB962C8B-B14F-4D97-AF65-F5344CB8AC3E}">
        <p14:creationId xmlns:p14="http://schemas.microsoft.com/office/powerpoint/2010/main" val="3566827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09002E1-7327-984D-83E9-8DD04F7C44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sz="1800" dirty="0"/>
          </a:p>
          <a:p>
            <a:r>
              <a:rPr lang="en-US" sz="3200" dirty="0"/>
              <a:t>  Thank You</a:t>
            </a:r>
          </a:p>
        </p:txBody>
      </p:sp>
    </p:spTree>
    <p:extLst>
      <p:ext uri="{BB962C8B-B14F-4D97-AF65-F5344CB8AC3E}">
        <p14:creationId xmlns:p14="http://schemas.microsoft.com/office/powerpoint/2010/main" val="12957866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139A4A4-EAE5-4ABF-850C-8E433745CF8A}"/>
              </a:ext>
            </a:extLst>
          </p:cNvPr>
          <p:cNvSpPr/>
          <p:nvPr/>
        </p:nvSpPr>
        <p:spPr>
          <a:xfrm>
            <a:off x="225287" y="1600200"/>
            <a:ext cx="11383617" cy="458512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0900" marR="0" lvl="1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The report contains information which is collated from OEM members of ICEMA</a:t>
            </a:r>
          </a:p>
          <a:p>
            <a:pPr marL="450900" marR="0" lvl="1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 Nova" panose="020B0504020202020204" pitchFamily="34" charset="0"/>
              <a:ea typeface="+mn-ea"/>
              <a:cs typeface="+mn-cs"/>
            </a:endParaRPr>
          </a:p>
          <a:p>
            <a:pPr marL="450900" marR="0" lvl="1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For market summary, all data submitted by ICEMA members has been represented</a:t>
            </a:r>
          </a:p>
          <a:p>
            <a:pPr marL="450900" marR="0" lvl="1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 Nova" panose="020B0504020202020204" pitchFamily="34" charset="0"/>
              <a:ea typeface="+mn-ea"/>
              <a:cs typeface="+mn-cs"/>
            </a:endParaRPr>
          </a:p>
          <a:p>
            <a:pPr marL="450900" marR="0" lvl="1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For equipment deep-dives, data has been presented only for instances where 3+ manufacturers have submitted data</a:t>
            </a:r>
          </a:p>
          <a:p>
            <a:pPr marL="450900" marR="0" lvl="1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 Nova" panose="020B0504020202020204" pitchFamily="34" charset="0"/>
              <a:ea typeface="+mn-ea"/>
              <a:cs typeface="+mn-cs"/>
            </a:endParaRPr>
          </a:p>
          <a:p>
            <a:pPr marL="450900" marR="0" lvl="1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The report includes </a:t>
            </a:r>
            <a:r>
              <a:rPr lang="en-US" sz="2400" dirty="0">
                <a:solidFill>
                  <a:prstClr val="black">
                    <a:lumMod val="100000"/>
                  </a:prstClr>
                </a:solidFill>
                <a:latin typeface="Arial Nova" panose="020B0504020202020204" pitchFamily="34" charset="0"/>
              </a:rPr>
              <a:t>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on-OEM exports of equipment (Backhoe Loader and Excavators) separately. Members may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analyse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 the data accordingly.</a:t>
            </a:r>
          </a:p>
          <a:p>
            <a:pPr marL="450900" marR="0" lvl="1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 Nova" panose="020B0504020202020204" pitchFamily="34" charset="0"/>
              <a:ea typeface="+mn-ea"/>
              <a:cs typeface="+mn-cs"/>
            </a:endParaRPr>
          </a:p>
          <a:p>
            <a:pPr marL="450900" marR="0" lvl="1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 Nova" panose="020B0504020202020204" pitchFamily="34" charset="0"/>
                <a:ea typeface="+mn-ea"/>
                <a:cs typeface="+mn-cs"/>
              </a:rPr>
              <a:t>Total sales of some equipment segment may not match with the flash report due to unavailability of detailed sales data for new companies.</a:t>
            </a:r>
          </a:p>
          <a:p>
            <a:pPr marL="450900" marR="0" lvl="1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prstClr val="black">
                  <a:lumMod val="100000"/>
                </a:prstClr>
              </a:solidFill>
              <a:latin typeface="Arial Nova" panose="020B0504020202020204" pitchFamily="34" charset="0"/>
            </a:endParaRPr>
          </a:p>
          <a:p>
            <a:pPr marL="450900" marR="0" lvl="1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>
                  <a:lumMod val="10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 Nova" panose="020B0504020202020204" pitchFamily="34" charset="0"/>
              <a:ea typeface="+mn-ea"/>
              <a:cs typeface="+mn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9514819-1750-4223-87F4-29B2FDA983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25287" y="72595"/>
            <a:ext cx="11940208" cy="619472"/>
          </a:xfrm>
        </p:spPr>
        <p:txBody>
          <a:bodyPr anchor="ctr">
            <a:normAutofit/>
          </a:bodyPr>
          <a:lstStyle/>
          <a:p>
            <a:r>
              <a:rPr lang="en-US" sz="2800" b="0" dirty="0">
                <a:solidFill>
                  <a:schemeClr val="bg1"/>
                </a:solidFill>
              </a:rPr>
              <a:t>Note to Readers</a:t>
            </a:r>
          </a:p>
        </p:txBody>
      </p:sp>
    </p:spTree>
    <p:extLst>
      <p:ext uri="{BB962C8B-B14F-4D97-AF65-F5344CB8AC3E}">
        <p14:creationId xmlns:p14="http://schemas.microsoft.com/office/powerpoint/2010/main" val="26342237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B2D704-3C19-0E45-3277-4037126844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4" imgW="327" imgH="327" progId="TCLayout.ActiveDocument.1">
                  <p:embed/>
                </p:oleObj>
              </mc:Choice>
              <mc:Fallback>
                <p:oleObj name="think-cell Slide" r:id="rId54" imgW="327" imgH="32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B2D704-3C19-0E45-3277-4037126844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0" name="Rectangle: Rounded Corners 219">
            <a:extLst>
              <a:ext uri="{FF2B5EF4-FFF2-40B4-BE49-F238E27FC236}">
                <a16:creationId xmlns:a16="http://schemas.microsoft.com/office/drawing/2014/main" id="{ADE7105A-8213-45A0-A889-D1632C97415E}"/>
              </a:ext>
            </a:extLst>
          </p:cNvPr>
          <p:cNvSpPr/>
          <p:nvPr/>
        </p:nvSpPr>
        <p:spPr>
          <a:xfrm>
            <a:off x="7735888" y="4697564"/>
            <a:ext cx="3427412" cy="1609424"/>
          </a:xfrm>
          <a:prstGeom prst="round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9" name="Rectangle: Rounded Corners 218">
            <a:extLst>
              <a:ext uri="{FF2B5EF4-FFF2-40B4-BE49-F238E27FC236}">
                <a16:creationId xmlns:a16="http://schemas.microsoft.com/office/drawing/2014/main" id="{98993E54-847A-43B5-A76A-149F6A4E5E18}"/>
              </a:ext>
            </a:extLst>
          </p:cNvPr>
          <p:cNvSpPr/>
          <p:nvPr/>
        </p:nvSpPr>
        <p:spPr>
          <a:xfrm>
            <a:off x="4339205" y="4692801"/>
            <a:ext cx="3275426" cy="1609424"/>
          </a:xfrm>
          <a:prstGeom prst="round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8" name="Rectangle: Rounded Corners 217">
            <a:extLst>
              <a:ext uri="{FF2B5EF4-FFF2-40B4-BE49-F238E27FC236}">
                <a16:creationId xmlns:a16="http://schemas.microsoft.com/office/drawing/2014/main" id="{177D6CA2-6036-45AB-A38F-43AC82941873}"/>
              </a:ext>
            </a:extLst>
          </p:cNvPr>
          <p:cNvSpPr/>
          <p:nvPr/>
        </p:nvSpPr>
        <p:spPr>
          <a:xfrm>
            <a:off x="682706" y="4642046"/>
            <a:ext cx="3567319" cy="1653979"/>
          </a:xfrm>
          <a:prstGeom prst="round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4" name="Rectangle: Rounded Corners 213">
            <a:extLst>
              <a:ext uri="{FF2B5EF4-FFF2-40B4-BE49-F238E27FC236}">
                <a16:creationId xmlns:a16="http://schemas.microsoft.com/office/drawing/2014/main" id="{14042535-F60D-4491-BCA5-4DCC6867259D}"/>
              </a:ext>
            </a:extLst>
          </p:cNvPr>
          <p:cNvSpPr/>
          <p:nvPr/>
        </p:nvSpPr>
        <p:spPr>
          <a:xfrm>
            <a:off x="729343" y="2914690"/>
            <a:ext cx="3520683" cy="1509412"/>
          </a:xfrm>
          <a:prstGeom prst="round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7" name="Rectangle: Rounded Corners 216">
            <a:extLst>
              <a:ext uri="{FF2B5EF4-FFF2-40B4-BE49-F238E27FC236}">
                <a16:creationId xmlns:a16="http://schemas.microsoft.com/office/drawing/2014/main" id="{099304EA-5E54-41FD-87C8-864B1A0C3999}"/>
              </a:ext>
            </a:extLst>
          </p:cNvPr>
          <p:cNvSpPr/>
          <p:nvPr/>
        </p:nvSpPr>
        <p:spPr>
          <a:xfrm>
            <a:off x="7714367" y="2911642"/>
            <a:ext cx="3448933" cy="1563805"/>
          </a:xfrm>
          <a:prstGeom prst="round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6" name="Rectangle: Rounded Corners 215">
            <a:extLst>
              <a:ext uri="{FF2B5EF4-FFF2-40B4-BE49-F238E27FC236}">
                <a16:creationId xmlns:a16="http://schemas.microsoft.com/office/drawing/2014/main" id="{033A00CC-B6E8-491B-98BF-FEABEE1090FC}"/>
              </a:ext>
            </a:extLst>
          </p:cNvPr>
          <p:cNvSpPr/>
          <p:nvPr/>
        </p:nvSpPr>
        <p:spPr>
          <a:xfrm>
            <a:off x="4354953" y="2914604"/>
            <a:ext cx="3270658" cy="1509412"/>
          </a:xfrm>
          <a:prstGeom prst="round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3" name="Rectangle: Rounded Corners 212">
            <a:extLst>
              <a:ext uri="{FF2B5EF4-FFF2-40B4-BE49-F238E27FC236}">
                <a16:creationId xmlns:a16="http://schemas.microsoft.com/office/drawing/2014/main" id="{FCB35A38-E972-4043-AC01-40E58EB9909B}"/>
              </a:ext>
            </a:extLst>
          </p:cNvPr>
          <p:cNvSpPr/>
          <p:nvPr/>
        </p:nvSpPr>
        <p:spPr>
          <a:xfrm>
            <a:off x="7642617" y="933523"/>
            <a:ext cx="3520683" cy="1796533"/>
          </a:xfrm>
          <a:prstGeom prst="round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936C603C-4555-4101-9E6A-52C6C38C12CC}"/>
              </a:ext>
            </a:extLst>
          </p:cNvPr>
          <p:cNvSpPr/>
          <p:nvPr/>
        </p:nvSpPr>
        <p:spPr>
          <a:xfrm>
            <a:off x="729343" y="946138"/>
            <a:ext cx="6824466" cy="1796533"/>
          </a:xfrm>
          <a:prstGeom prst="roundRect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52F6AB-CB85-6B4C-E04F-6D51A976650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6838" y="50486"/>
            <a:ext cx="10428287" cy="619125"/>
          </a:xfrm>
        </p:spPr>
        <p:txBody>
          <a:bodyPr vert="horz">
            <a:norm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ndian Economy : A Snapshot </a:t>
            </a:r>
          </a:p>
        </p:txBody>
      </p:sp>
      <p:sp>
        <p:nvSpPr>
          <p:cNvPr id="670" name="TextBox 669">
            <a:extLst>
              <a:ext uri="{FF2B5EF4-FFF2-40B4-BE49-F238E27FC236}">
                <a16:creationId xmlns:a16="http://schemas.microsoft.com/office/drawing/2014/main" id="{E0B0F0CA-2506-49B3-9C2D-DD4EE33E430E}"/>
              </a:ext>
            </a:extLst>
          </p:cNvPr>
          <p:cNvSpPr txBox="1"/>
          <p:nvPr/>
        </p:nvSpPr>
        <p:spPr>
          <a:xfrm>
            <a:off x="893293" y="4237485"/>
            <a:ext cx="1219247" cy="14605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MOSPI, CMIE</a:t>
            </a:r>
          </a:p>
        </p:txBody>
      </p:sp>
      <p:sp>
        <p:nvSpPr>
          <p:cNvPr id="671" name="Text Placeholder 2">
            <a:extLst>
              <a:ext uri="{FF2B5EF4-FFF2-40B4-BE49-F238E27FC236}">
                <a16:creationId xmlns:a16="http://schemas.microsoft.com/office/drawing/2014/main" id="{52259FBF-07D9-433A-9594-87939A2E31D4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2301125" y="1124230"/>
            <a:ext cx="500063" cy="147638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-o-Y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86" name="Text Placeholder 2">
            <a:extLst>
              <a:ext uri="{FF2B5EF4-FFF2-40B4-BE49-F238E27FC236}">
                <a16:creationId xmlns:a16="http://schemas.microsoft.com/office/drawing/2014/main" id="{71386B6B-A0DC-4431-B9CC-2E0336F0B4F5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5791650" y="1048648"/>
            <a:ext cx="580125" cy="161925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-o-Q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87" name="Rectangle: Rounded Corners 686">
            <a:extLst>
              <a:ext uri="{FF2B5EF4-FFF2-40B4-BE49-F238E27FC236}">
                <a16:creationId xmlns:a16="http://schemas.microsoft.com/office/drawing/2014/main" id="{1FA66868-ED3F-4B68-B1AB-E5D0C2D55985}"/>
              </a:ext>
            </a:extLst>
          </p:cNvPr>
          <p:cNvSpPr/>
          <p:nvPr/>
        </p:nvSpPr>
        <p:spPr>
          <a:xfrm>
            <a:off x="8828064" y="858211"/>
            <a:ext cx="1121801" cy="19685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B3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IP Index</a:t>
            </a:r>
          </a:p>
        </p:txBody>
      </p:sp>
      <p:graphicFrame>
        <p:nvGraphicFramePr>
          <p:cNvPr id="972" name="Chart 971">
            <a:extLst>
              <a:ext uri="{FF2B5EF4-FFF2-40B4-BE49-F238E27FC236}">
                <a16:creationId xmlns:a16="http://schemas.microsoft.com/office/drawing/2014/main" id="{8B1EC3DF-1C79-4478-8DBF-32F750F36B1C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8058150" y="1370013"/>
          <a:ext cx="2832100" cy="1008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sp>
        <p:nvSpPr>
          <p:cNvPr id="701" name="Text Placeholder 2">
            <a:extLst>
              <a:ext uri="{FF2B5EF4-FFF2-40B4-BE49-F238E27FC236}">
                <a16:creationId xmlns:a16="http://schemas.microsoft.com/office/drawing/2014/main" id="{1778C28F-12D6-4721-BC4C-BB1B2854AE8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845425" y="2232025"/>
            <a:ext cx="2095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5D6FB5B-5A90-4610-A556-69F80F3BEB21}" type="datetime'''''''''''''''''''''''1''''''''2''''5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25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700" name="Text Placeholder 2">
            <a:extLst>
              <a:ext uri="{FF2B5EF4-FFF2-40B4-BE49-F238E27FC236}">
                <a16:creationId xmlns:a16="http://schemas.microsoft.com/office/drawing/2014/main" id="{16F6883A-CD12-45AC-9DF3-BDEC522BF64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845425" y="2063750"/>
            <a:ext cx="2095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CFCF54F-7FE4-410F-88B6-3D6C66DBDFB5}" type="datetime'1''''''3''''''''''''''''0''''''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3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703" name="Text Placeholder 2">
            <a:extLst>
              <a:ext uri="{FF2B5EF4-FFF2-40B4-BE49-F238E27FC236}">
                <a16:creationId xmlns:a16="http://schemas.microsoft.com/office/drawing/2014/main" id="{0BC2B1D1-85C6-45E8-B7B8-7729AE677C3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845425" y="1895475"/>
            <a:ext cx="2095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792794B-769C-4235-B59E-CA75E2EF105A}" type="datetime'''''''''''''''''''''''''''''''''''''''1''''35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35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702" name="Text Placeholder 2">
            <a:extLst>
              <a:ext uri="{FF2B5EF4-FFF2-40B4-BE49-F238E27FC236}">
                <a16:creationId xmlns:a16="http://schemas.microsoft.com/office/drawing/2014/main" id="{D83DC60D-04DF-4292-B2D5-6AC1A8DA090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845425" y="1725613"/>
            <a:ext cx="2095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C1A11BE-70DE-42A6-95E4-D0CBEF29322D}" type="datetime'''''''1''4''0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4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704" name="Text Placeholder 2">
            <a:extLst>
              <a:ext uri="{FF2B5EF4-FFF2-40B4-BE49-F238E27FC236}">
                <a16:creationId xmlns:a16="http://schemas.microsoft.com/office/drawing/2014/main" id="{ED40AA37-B240-4089-8299-6BB4B8CF73A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845425" y="1557338"/>
            <a:ext cx="2095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B00AB0C-CBB9-43F5-A7B4-072B37DBD658}" type="datetime'''1''''''''''''''''''''''''''''''4''''''''5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45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705" name="Text Placeholder 2">
            <a:extLst>
              <a:ext uri="{FF2B5EF4-FFF2-40B4-BE49-F238E27FC236}">
                <a16:creationId xmlns:a16="http://schemas.microsoft.com/office/drawing/2014/main" id="{E0250342-0EBC-43F0-A4EB-D5F4F390782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845425" y="1389063"/>
            <a:ext cx="2095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D115D4E-FC7B-4857-9EDA-DFA3BE270CEF}" type="datetime'''''''''1''5''''''''''''''''''''''0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5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709" name="Text Placeholder 2">
            <a:extLst>
              <a:ext uri="{FF2B5EF4-FFF2-40B4-BE49-F238E27FC236}">
                <a16:creationId xmlns:a16="http://schemas.microsoft.com/office/drawing/2014/main" id="{2CE6B2F9-23DB-4A02-BB8E-BAB7F287851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302625" y="2338388"/>
            <a:ext cx="2095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Jan</a:t>
            </a:r>
          </a:p>
        </p:txBody>
      </p:sp>
      <p:sp>
        <p:nvSpPr>
          <p:cNvPr id="707" name="Text Placeholder 2">
            <a:extLst>
              <a:ext uri="{FF2B5EF4-FFF2-40B4-BE49-F238E27FC236}">
                <a16:creationId xmlns:a16="http://schemas.microsoft.com/office/drawing/2014/main" id="{6A184278-0452-4A9F-859A-AC411F1664D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815388" y="2338388"/>
            <a:ext cx="2524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Feb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710" name="Text Placeholder 2">
            <a:extLst>
              <a:ext uri="{FF2B5EF4-FFF2-40B4-BE49-F238E27FC236}">
                <a16:creationId xmlns:a16="http://schemas.microsoft.com/office/drawing/2014/main" id="{7544A21C-D6E5-4D06-9183-DB38D3F4A95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9366250" y="2338388"/>
            <a:ext cx="2159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Mar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708" name="Text Placeholder 2">
            <a:extLst>
              <a:ext uri="{FF2B5EF4-FFF2-40B4-BE49-F238E27FC236}">
                <a16:creationId xmlns:a16="http://schemas.microsoft.com/office/drawing/2014/main" id="{A626224C-4959-4B03-A9B1-5F50198F84F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9920288" y="2338388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Apr</a:t>
            </a:r>
          </a:p>
        </p:txBody>
      </p:sp>
      <p:sp>
        <p:nvSpPr>
          <p:cNvPr id="711" name="Text Placeholder 2">
            <a:extLst>
              <a:ext uri="{FF2B5EF4-FFF2-40B4-BE49-F238E27FC236}">
                <a16:creationId xmlns:a16="http://schemas.microsoft.com/office/drawing/2014/main" id="{E9839142-0BD2-4674-A197-8F97A5FF02B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0423525" y="2338388"/>
            <a:ext cx="2365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May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1D2A7F5-84EF-3D98-F09D-6357A054F51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9300249" y="1222576"/>
            <a:ext cx="350891" cy="207221"/>
          </a:xfrm>
          <a:prstGeom prst="ellipse">
            <a:avLst/>
          </a:prstGeom>
          <a:solidFill>
            <a:srgbClr val="1E50A0"/>
          </a:solidFill>
          <a:ln w="9525" algn="ctr">
            <a:solidFill>
              <a:srgbClr val="808080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1.7%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712" name="Text Placeholder 2">
            <a:extLst>
              <a:ext uri="{FF2B5EF4-FFF2-40B4-BE49-F238E27FC236}">
                <a16:creationId xmlns:a16="http://schemas.microsoft.com/office/drawing/2014/main" id="{A1583AF9-2118-4AEE-8486-E39961C1B831}"/>
              </a:ext>
            </a:extLst>
          </p:cNvPr>
          <p:cNvSpPr>
            <a:spLocks noGrp="1"/>
          </p:cNvSpPr>
          <p:nvPr/>
        </p:nvSpPr>
        <p:spPr bwMode="gray">
          <a:xfrm>
            <a:off x="8273152" y="1229348"/>
            <a:ext cx="319088" cy="193675"/>
          </a:xfrm>
          <a:prstGeom prst="ellipse">
            <a:avLst/>
          </a:prstGeom>
          <a:solidFill>
            <a:srgbClr val="1E50A0"/>
          </a:solidFill>
          <a:ln w="9525" algn="ctr">
            <a:solidFill>
              <a:srgbClr val="808080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5.2</a:t>
            </a: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graphicFrame>
        <p:nvGraphicFramePr>
          <p:cNvPr id="956" name="Chart 955">
            <a:extLst>
              <a:ext uri="{FF2B5EF4-FFF2-40B4-BE49-F238E27FC236}">
                <a16:creationId xmlns:a16="http://schemas.microsoft.com/office/drawing/2014/main" id="{2735AF2E-759F-4952-9009-662D3C8BC250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214947246"/>
              </p:ext>
            </p:extLst>
          </p:nvPr>
        </p:nvGraphicFramePr>
        <p:xfrm>
          <a:off x="5336761" y="3283918"/>
          <a:ext cx="2547044" cy="1054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>
        <p:nvSpPr>
          <p:cNvPr id="715" name="Text Placeholder 2">
            <a:extLst>
              <a:ext uri="{FF2B5EF4-FFF2-40B4-BE49-F238E27FC236}">
                <a16:creationId xmlns:a16="http://schemas.microsoft.com/office/drawing/2014/main" id="{A31F3369-19C3-4314-9BA6-5B79A5F758E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484241" y="3396919"/>
            <a:ext cx="555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Mild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Steel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716" name="Text Placeholder 2">
            <a:extLst>
              <a:ext uri="{FF2B5EF4-FFF2-40B4-BE49-F238E27FC236}">
                <a16:creationId xmlns:a16="http://schemas.microsoft.com/office/drawing/2014/main" id="{C3C22F5D-D1BD-4A89-A319-53D42FA6F64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518308" y="3700416"/>
            <a:ext cx="2682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626EC4E-0622-4F07-9373-E4F58407C74A}" type="datetime'''''''''''''''H''''''''S''''''''''''''''''D'''''''''">
              <a:rPr kumimoji="0" lang="en-US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HSD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714" name="Text Placeholder 2">
            <a:extLst>
              <a:ext uri="{FF2B5EF4-FFF2-40B4-BE49-F238E27FC236}">
                <a16:creationId xmlns:a16="http://schemas.microsoft.com/office/drawing/2014/main" id="{CC67A96C-247E-47B0-A042-AADD52F6AFE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429986" y="4017821"/>
            <a:ext cx="5349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Crud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 Oil</a:t>
            </a:r>
          </a:p>
        </p:txBody>
      </p:sp>
      <p:sp>
        <p:nvSpPr>
          <p:cNvPr id="717" name="Rectangle 716">
            <a:extLst>
              <a:ext uri="{FF2B5EF4-FFF2-40B4-BE49-F238E27FC236}">
                <a16:creationId xmlns:a16="http://schemas.microsoft.com/office/drawing/2014/main" id="{B4DDB4DF-07B3-4A81-9736-564EA51405FD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6869492" y="3077759"/>
            <a:ext cx="125260" cy="10367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8" name="Rectangle 717">
            <a:extLst>
              <a:ext uri="{FF2B5EF4-FFF2-40B4-BE49-F238E27FC236}">
                <a16:creationId xmlns:a16="http://schemas.microsoft.com/office/drawing/2014/main" id="{7DA59D2D-730B-4326-8980-32ACB046C9BF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6873554" y="3229973"/>
            <a:ext cx="125260" cy="107673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2" name="Text Placeholder 2">
            <a:extLst>
              <a:ext uri="{FF2B5EF4-FFF2-40B4-BE49-F238E27FC236}">
                <a16:creationId xmlns:a16="http://schemas.microsoft.com/office/drawing/2014/main" id="{117ABCCB-38B1-45E8-B620-90D7B3B205F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072045" y="3225462"/>
            <a:ext cx="3921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Jun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726" name="Text Placeholder 2">
            <a:extLst>
              <a:ext uri="{FF2B5EF4-FFF2-40B4-BE49-F238E27FC236}">
                <a16:creationId xmlns:a16="http://schemas.microsoft.com/office/drawing/2014/main" id="{A9FCB91D-1ED2-40EC-9CE3-75A345B8D37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084756" y="3054659"/>
            <a:ext cx="225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May</a:t>
            </a:r>
          </a:p>
        </p:txBody>
      </p:sp>
      <p:sp>
        <p:nvSpPr>
          <p:cNvPr id="728" name="TextBox 727">
            <a:extLst>
              <a:ext uri="{FF2B5EF4-FFF2-40B4-BE49-F238E27FC236}">
                <a16:creationId xmlns:a16="http://schemas.microsoft.com/office/drawing/2014/main" id="{511CC019-56EA-4492-8A78-7D42A1FABEA7}"/>
              </a:ext>
            </a:extLst>
          </p:cNvPr>
          <p:cNvSpPr txBox="1"/>
          <p:nvPr/>
        </p:nvSpPr>
        <p:spPr>
          <a:xfrm>
            <a:off x="3302343" y="3018631"/>
            <a:ext cx="889956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Y-o-Y in %)</a:t>
            </a:r>
          </a:p>
        </p:txBody>
      </p:sp>
      <p:sp>
        <p:nvSpPr>
          <p:cNvPr id="729" name="Rectangle: Rounded Corners 728">
            <a:extLst>
              <a:ext uri="{FF2B5EF4-FFF2-40B4-BE49-F238E27FC236}">
                <a16:creationId xmlns:a16="http://schemas.microsoft.com/office/drawing/2014/main" id="{BE08C99A-B8F7-4205-99AC-544DD106F0F8}"/>
              </a:ext>
            </a:extLst>
          </p:cNvPr>
          <p:cNvSpPr/>
          <p:nvPr/>
        </p:nvSpPr>
        <p:spPr>
          <a:xfrm>
            <a:off x="1634210" y="2842362"/>
            <a:ext cx="1703615" cy="19685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B3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lation Rate</a:t>
            </a:r>
          </a:p>
        </p:txBody>
      </p:sp>
      <p:grpSp>
        <p:nvGrpSpPr>
          <p:cNvPr id="749" name="Group 748">
            <a:extLst>
              <a:ext uri="{FF2B5EF4-FFF2-40B4-BE49-F238E27FC236}">
                <a16:creationId xmlns:a16="http://schemas.microsoft.com/office/drawing/2014/main" id="{D4853C22-C999-43D9-A24C-0586F9C8B614}"/>
              </a:ext>
            </a:extLst>
          </p:cNvPr>
          <p:cNvGrpSpPr/>
          <p:nvPr/>
        </p:nvGrpSpPr>
        <p:grpSpPr>
          <a:xfrm>
            <a:off x="4561067" y="5554663"/>
            <a:ext cx="2657467" cy="169863"/>
            <a:chOff x="4549783" y="4960939"/>
            <a:chExt cx="2657467" cy="169167"/>
          </a:xfrm>
        </p:grpSpPr>
        <p:sp>
          <p:nvSpPr>
            <p:cNvPr id="750" name="TextBox 749">
              <a:extLst>
                <a:ext uri="{FF2B5EF4-FFF2-40B4-BE49-F238E27FC236}">
                  <a16:creationId xmlns:a16="http://schemas.microsoft.com/office/drawing/2014/main" id="{6932423A-FE56-4BEF-A748-660CB1EC1642}"/>
                </a:ext>
              </a:extLst>
            </p:cNvPr>
            <p:cNvSpPr txBox="1"/>
            <p:nvPr/>
          </p:nvSpPr>
          <p:spPr>
            <a:xfrm>
              <a:off x="4549783" y="4960939"/>
              <a:ext cx="875343" cy="16916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po Rate</a:t>
              </a:r>
            </a:p>
          </p:txBody>
        </p:sp>
        <p:sp>
          <p:nvSpPr>
            <p:cNvPr id="751" name="TextBox 750">
              <a:extLst>
                <a:ext uri="{FF2B5EF4-FFF2-40B4-BE49-F238E27FC236}">
                  <a16:creationId xmlns:a16="http://schemas.microsoft.com/office/drawing/2014/main" id="{9C409430-6525-40B5-A89D-AFDE74EEACCD}"/>
                </a:ext>
              </a:extLst>
            </p:cNvPr>
            <p:cNvSpPr txBox="1"/>
            <p:nvPr/>
          </p:nvSpPr>
          <p:spPr>
            <a:xfrm>
              <a:off x="6340929" y="4960939"/>
              <a:ext cx="866321" cy="16916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ank Rate</a:t>
              </a:r>
            </a:p>
          </p:txBody>
        </p:sp>
      </p:grpSp>
      <p:grpSp>
        <p:nvGrpSpPr>
          <p:cNvPr id="752" name="Group 751">
            <a:extLst>
              <a:ext uri="{FF2B5EF4-FFF2-40B4-BE49-F238E27FC236}">
                <a16:creationId xmlns:a16="http://schemas.microsoft.com/office/drawing/2014/main" id="{8AE6A583-ADE6-4EBE-B1BF-F4670385BAB2}"/>
              </a:ext>
            </a:extLst>
          </p:cNvPr>
          <p:cNvGrpSpPr/>
          <p:nvPr/>
        </p:nvGrpSpPr>
        <p:grpSpPr>
          <a:xfrm>
            <a:off x="4561067" y="5765800"/>
            <a:ext cx="2657467" cy="430213"/>
            <a:chOff x="4549783" y="5195889"/>
            <a:chExt cx="2657467" cy="430213"/>
          </a:xfrm>
        </p:grpSpPr>
        <p:sp>
          <p:nvSpPr>
            <p:cNvPr id="753" name="TextBox 752">
              <a:extLst>
                <a:ext uri="{FF2B5EF4-FFF2-40B4-BE49-F238E27FC236}">
                  <a16:creationId xmlns:a16="http://schemas.microsoft.com/office/drawing/2014/main" id="{2F361441-159A-4CBA-8F14-DAE42DDF280B}"/>
                </a:ext>
              </a:extLst>
            </p:cNvPr>
            <p:cNvSpPr txBox="1"/>
            <p:nvPr/>
          </p:nvSpPr>
          <p:spPr>
            <a:xfrm>
              <a:off x="4549783" y="5195889"/>
              <a:ext cx="875343" cy="4302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B3C8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.50%</a:t>
              </a:r>
            </a:p>
          </p:txBody>
        </p:sp>
        <p:sp>
          <p:nvSpPr>
            <p:cNvPr id="754" name="TextBox 753">
              <a:extLst>
                <a:ext uri="{FF2B5EF4-FFF2-40B4-BE49-F238E27FC236}">
                  <a16:creationId xmlns:a16="http://schemas.microsoft.com/office/drawing/2014/main" id="{9D73A901-8B39-47AA-AE74-26F63F426A85}"/>
                </a:ext>
              </a:extLst>
            </p:cNvPr>
            <p:cNvSpPr txBox="1"/>
            <p:nvPr/>
          </p:nvSpPr>
          <p:spPr>
            <a:xfrm>
              <a:off x="6340929" y="5195889"/>
              <a:ext cx="866321" cy="4302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E50A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.75%</a:t>
              </a:r>
            </a:p>
          </p:txBody>
        </p:sp>
      </p:grpSp>
      <p:grpSp>
        <p:nvGrpSpPr>
          <p:cNvPr id="755" name="Group 754">
            <a:extLst>
              <a:ext uri="{FF2B5EF4-FFF2-40B4-BE49-F238E27FC236}">
                <a16:creationId xmlns:a16="http://schemas.microsoft.com/office/drawing/2014/main" id="{2FE6A991-87E8-4837-BE53-65A8163D5E81}"/>
              </a:ext>
            </a:extLst>
          </p:cNvPr>
          <p:cNvGrpSpPr/>
          <p:nvPr/>
        </p:nvGrpSpPr>
        <p:grpSpPr>
          <a:xfrm>
            <a:off x="4798041" y="4995863"/>
            <a:ext cx="2338164" cy="606425"/>
            <a:chOff x="4799352" y="4420685"/>
            <a:chExt cx="2338164" cy="607071"/>
          </a:xfrm>
        </p:grpSpPr>
        <p:grpSp>
          <p:nvGrpSpPr>
            <p:cNvPr id="756" name="Group 755">
              <a:extLst>
                <a:ext uri="{FF2B5EF4-FFF2-40B4-BE49-F238E27FC236}">
                  <a16:creationId xmlns:a16="http://schemas.microsoft.com/office/drawing/2014/main" id="{0C81E322-5C50-4CE6-9296-788E5CF7371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529859" y="4420685"/>
              <a:ext cx="607657" cy="607071"/>
              <a:chOff x="6464300" y="2606675"/>
              <a:chExt cx="1646238" cy="1644650"/>
            </a:xfrm>
          </p:grpSpPr>
          <p:sp>
            <p:nvSpPr>
              <p:cNvPr id="761" name="AutoShape 3">
                <a:extLst>
                  <a:ext uri="{FF2B5EF4-FFF2-40B4-BE49-F238E27FC236}">
                    <a16:creationId xmlns:a16="http://schemas.microsoft.com/office/drawing/2014/main" id="{A3F654D9-1D69-4FCE-A34A-E7EC544F98DE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6464300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762" name="Group 761">
                <a:extLst>
                  <a:ext uri="{FF2B5EF4-FFF2-40B4-BE49-F238E27FC236}">
                    <a16:creationId xmlns:a16="http://schemas.microsoft.com/office/drawing/2014/main" id="{CE3A2F99-0409-4B85-8694-4182B29BF0ED}"/>
                  </a:ext>
                </a:extLst>
              </p:cNvPr>
              <p:cNvGrpSpPr/>
              <p:nvPr/>
            </p:nvGrpSpPr>
            <p:grpSpPr>
              <a:xfrm>
                <a:off x="6729415" y="2878138"/>
                <a:ext cx="1122264" cy="1128713"/>
                <a:chOff x="6729415" y="2878138"/>
                <a:chExt cx="1122264" cy="1128713"/>
              </a:xfrm>
            </p:grpSpPr>
            <p:sp>
              <p:nvSpPr>
                <p:cNvPr id="763" name="Freeform 11">
                  <a:extLst>
                    <a:ext uri="{FF2B5EF4-FFF2-40B4-BE49-F238E27FC236}">
                      <a16:creationId xmlns:a16="http://schemas.microsoft.com/office/drawing/2014/main" id="{E8340689-6946-4266-9E4C-2F07765D1F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58038" y="3079750"/>
                  <a:ext cx="530225" cy="541338"/>
                </a:xfrm>
                <a:custGeom>
                  <a:avLst/>
                  <a:gdLst>
                    <a:gd name="T0" fmla="*/ 741 w 743"/>
                    <a:gd name="T1" fmla="*/ 524 h 758"/>
                    <a:gd name="T2" fmla="*/ 741 w 743"/>
                    <a:gd name="T3" fmla="*/ 519 h 758"/>
                    <a:gd name="T4" fmla="*/ 654 w 743"/>
                    <a:gd name="T5" fmla="*/ 286 h 758"/>
                    <a:gd name="T6" fmla="*/ 605 w 743"/>
                    <a:gd name="T7" fmla="*/ 216 h 758"/>
                    <a:gd name="T8" fmla="*/ 456 w 743"/>
                    <a:gd name="T9" fmla="*/ 56 h 758"/>
                    <a:gd name="T10" fmla="*/ 435 w 743"/>
                    <a:gd name="T11" fmla="*/ 30 h 758"/>
                    <a:gd name="T12" fmla="*/ 422 w 743"/>
                    <a:gd name="T13" fmla="*/ 10 h 758"/>
                    <a:gd name="T14" fmla="*/ 421 w 743"/>
                    <a:gd name="T15" fmla="*/ 8 h 758"/>
                    <a:gd name="T16" fmla="*/ 403 w 743"/>
                    <a:gd name="T17" fmla="*/ 0 h 758"/>
                    <a:gd name="T18" fmla="*/ 333 w 743"/>
                    <a:gd name="T19" fmla="*/ 0 h 758"/>
                    <a:gd name="T20" fmla="*/ 316 w 743"/>
                    <a:gd name="T21" fmla="*/ 8 h 758"/>
                    <a:gd name="T22" fmla="*/ 314 w 743"/>
                    <a:gd name="T23" fmla="*/ 11 h 758"/>
                    <a:gd name="T24" fmla="*/ 303 w 743"/>
                    <a:gd name="T25" fmla="*/ 30 h 758"/>
                    <a:gd name="T26" fmla="*/ 284 w 743"/>
                    <a:gd name="T27" fmla="*/ 56 h 758"/>
                    <a:gd name="T28" fmla="*/ 135 w 743"/>
                    <a:gd name="T29" fmla="*/ 216 h 758"/>
                    <a:gd name="T30" fmla="*/ 86 w 743"/>
                    <a:gd name="T31" fmla="*/ 286 h 758"/>
                    <a:gd name="T32" fmla="*/ 0 w 743"/>
                    <a:gd name="T33" fmla="*/ 497 h 758"/>
                    <a:gd name="T34" fmla="*/ 9 w 743"/>
                    <a:gd name="T35" fmla="*/ 498 h 758"/>
                    <a:gd name="T36" fmla="*/ 403 w 743"/>
                    <a:gd name="T37" fmla="*/ 518 h 758"/>
                    <a:gd name="T38" fmla="*/ 550 w 743"/>
                    <a:gd name="T39" fmla="*/ 669 h 758"/>
                    <a:gd name="T40" fmla="*/ 550 w 743"/>
                    <a:gd name="T41" fmla="*/ 673 h 758"/>
                    <a:gd name="T42" fmla="*/ 524 w 743"/>
                    <a:gd name="T43" fmla="*/ 758 h 758"/>
                    <a:gd name="T44" fmla="*/ 666 w 743"/>
                    <a:gd name="T45" fmla="*/ 663 h 758"/>
                    <a:gd name="T46" fmla="*/ 732 w 743"/>
                    <a:gd name="T47" fmla="*/ 588 h 758"/>
                    <a:gd name="T48" fmla="*/ 737 w 743"/>
                    <a:gd name="T49" fmla="*/ 583 h 758"/>
                    <a:gd name="T50" fmla="*/ 741 w 743"/>
                    <a:gd name="T51" fmla="*/ 524 h 7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743" h="758">
                      <a:moveTo>
                        <a:pt x="741" y="524"/>
                      </a:moveTo>
                      <a:cubicBezTo>
                        <a:pt x="741" y="519"/>
                        <a:pt x="741" y="519"/>
                        <a:pt x="741" y="519"/>
                      </a:cubicBezTo>
                      <a:cubicBezTo>
                        <a:pt x="741" y="453"/>
                        <a:pt x="711" y="373"/>
                        <a:pt x="654" y="286"/>
                      </a:cubicBezTo>
                      <a:cubicBezTo>
                        <a:pt x="640" y="263"/>
                        <a:pt x="623" y="240"/>
                        <a:pt x="605" y="216"/>
                      </a:cubicBezTo>
                      <a:cubicBezTo>
                        <a:pt x="542" y="134"/>
                        <a:pt x="475" y="71"/>
                        <a:pt x="456" y="56"/>
                      </a:cubicBezTo>
                      <a:cubicBezTo>
                        <a:pt x="450" y="51"/>
                        <a:pt x="442" y="41"/>
                        <a:pt x="435" y="30"/>
                      </a:cubicBezTo>
                      <a:cubicBezTo>
                        <a:pt x="430" y="23"/>
                        <a:pt x="426" y="16"/>
                        <a:pt x="422" y="10"/>
                      </a:cubicBezTo>
                      <a:cubicBezTo>
                        <a:pt x="422" y="10"/>
                        <a:pt x="422" y="9"/>
                        <a:pt x="421" y="8"/>
                      </a:cubicBezTo>
                      <a:cubicBezTo>
                        <a:pt x="417" y="3"/>
                        <a:pt x="410" y="0"/>
                        <a:pt x="403" y="0"/>
                      </a:cubicBezTo>
                      <a:cubicBezTo>
                        <a:pt x="333" y="0"/>
                        <a:pt x="333" y="0"/>
                        <a:pt x="333" y="0"/>
                      </a:cubicBezTo>
                      <a:cubicBezTo>
                        <a:pt x="327" y="0"/>
                        <a:pt x="320" y="3"/>
                        <a:pt x="316" y="8"/>
                      </a:cubicBezTo>
                      <a:cubicBezTo>
                        <a:pt x="315" y="9"/>
                        <a:pt x="315" y="10"/>
                        <a:pt x="314" y="11"/>
                      </a:cubicBezTo>
                      <a:cubicBezTo>
                        <a:pt x="311" y="17"/>
                        <a:pt x="307" y="24"/>
                        <a:pt x="303" y="30"/>
                      </a:cubicBezTo>
                      <a:cubicBezTo>
                        <a:pt x="297" y="41"/>
                        <a:pt x="290" y="51"/>
                        <a:pt x="284" y="56"/>
                      </a:cubicBezTo>
                      <a:cubicBezTo>
                        <a:pt x="265" y="71"/>
                        <a:pt x="198" y="134"/>
                        <a:pt x="135" y="216"/>
                      </a:cubicBezTo>
                      <a:cubicBezTo>
                        <a:pt x="116" y="240"/>
                        <a:pt x="100" y="263"/>
                        <a:pt x="86" y="286"/>
                      </a:cubicBezTo>
                      <a:cubicBezTo>
                        <a:pt x="35" y="364"/>
                        <a:pt x="6" y="436"/>
                        <a:pt x="0" y="497"/>
                      </a:cubicBezTo>
                      <a:cubicBezTo>
                        <a:pt x="9" y="498"/>
                        <a:pt x="9" y="498"/>
                        <a:pt x="9" y="498"/>
                      </a:cubicBezTo>
                      <a:cubicBezTo>
                        <a:pt x="403" y="518"/>
                        <a:pt x="403" y="518"/>
                        <a:pt x="403" y="518"/>
                      </a:cubicBezTo>
                      <a:cubicBezTo>
                        <a:pt x="484" y="522"/>
                        <a:pt x="547" y="588"/>
                        <a:pt x="550" y="669"/>
                      </a:cubicBezTo>
                      <a:cubicBezTo>
                        <a:pt x="550" y="670"/>
                        <a:pt x="550" y="671"/>
                        <a:pt x="550" y="673"/>
                      </a:cubicBezTo>
                      <a:cubicBezTo>
                        <a:pt x="550" y="704"/>
                        <a:pt x="540" y="733"/>
                        <a:pt x="524" y="758"/>
                      </a:cubicBezTo>
                      <a:cubicBezTo>
                        <a:pt x="579" y="739"/>
                        <a:pt x="627" y="706"/>
                        <a:pt x="666" y="663"/>
                      </a:cubicBezTo>
                      <a:cubicBezTo>
                        <a:pt x="732" y="588"/>
                        <a:pt x="732" y="588"/>
                        <a:pt x="732" y="588"/>
                      </a:cubicBezTo>
                      <a:cubicBezTo>
                        <a:pt x="734" y="586"/>
                        <a:pt x="735" y="585"/>
                        <a:pt x="737" y="583"/>
                      </a:cubicBezTo>
                      <a:cubicBezTo>
                        <a:pt x="743" y="551"/>
                        <a:pt x="741" y="525"/>
                        <a:pt x="741" y="524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64" name="Freeform 14">
                  <a:extLst>
                    <a:ext uri="{FF2B5EF4-FFF2-40B4-BE49-F238E27FC236}">
                      <a16:creationId xmlns:a16="http://schemas.microsoft.com/office/drawing/2014/main" id="{3A162678-5042-43C5-8B8B-512940F213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29415" y="2878138"/>
                  <a:ext cx="1122264" cy="1128713"/>
                </a:xfrm>
                <a:custGeom>
                  <a:avLst/>
                  <a:gdLst>
                    <a:gd name="connsiteX0" fmla="*/ 408151 w 1122265"/>
                    <a:gd name="connsiteY0" fmla="*/ 618966 h 1128713"/>
                    <a:gd name="connsiteX1" fmla="*/ 324550 w 1122265"/>
                    <a:gd name="connsiteY1" fmla="*/ 638976 h 1128713"/>
                    <a:gd name="connsiteX2" fmla="*/ 30162 w 1122265"/>
                    <a:gd name="connsiteY2" fmla="*/ 806195 h 1128713"/>
                    <a:gd name="connsiteX3" fmla="*/ 30162 w 1122265"/>
                    <a:gd name="connsiteY3" fmla="*/ 1090612 h 1128713"/>
                    <a:gd name="connsiteX4" fmla="*/ 366708 w 1122265"/>
                    <a:gd name="connsiteY4" fmla="*/ 960552 h 1128713"/>
                    <a:gd name="connsiteX5" fmla="*/ 417440 w 1122265"/>
                    <a:gd name="connsiteY5" fmla="*/ 952691 h 1128713"/>
                    <a:gd name="connsiteX6" fmla="*/ 566778 w 1122265"/>
                    <a:gd name="connsiteY6" fmla="*/ 963411 h 1128713"/>
                    <a:gd name="connsiteX7" fmla="*/ 795429 w 1122265"/>
                    <a:gd name="connsiteY7" fmla="*/ 936970 h 1128713"/>
                    <a:gd name="connsiteX8" fmla="*/ 1046230 w 1122265"/>
                    <a:gd name="connsiteY8" fmla="*/ 770465 h 1128713"/>
                    <a:gd name="connsiteX9" fmla="*/ 1078384 w 1122265"/>
                    <a:gd name="connsiteY9" fmla="*/ 733305 h 1128713"/>
                    <a:gd name="connsiteX10" fmla="*/ 1073383 w 1122265"/>
                    <a:gd name="connsiteY10" fmla="*/ 658985 h 1128713"/>
                    <a:gd name="connsiteX11" fmla="*/ 1034798 w 1122265"/>
                    <a:gd name="connsiteY11" fmla="*/ 645407 h 1128713"/>
                    <a:gd name="connsiteX12" fmla="*/ 997642 w 1122265"/>
                    <a:gd name="connsiteY12" fmla="*/ 663272 h 1128713"/>
                    <a:gd name="connsiteX13" fmla="*/ 949768 w 1122265"/>
                    <a:gd name="connsiteY13" fmla="*/ 716869 h 1128713"/>
                    <a:gd name="connsiteX14" fmla="*/ 804003 w 1122265"/>
                    <a:gd name="connsiteY14" fmla="*/ 808339 h 1128713"/>
                    <a:gd name="connsiteX15" fmla="*/ 606792 w 1122265"/>
                    <a:gd name="connsiteY15" fmla="*/ 797620 h 1128713"/>
                    <a:gd name="connsiteX16" fmla="*/ 551772 w 1122265"/>
                    <a:gd name="connsiteY16" fmla="*/ 775467 h 1128713"/>
                    <a:gd name="connsiteX17" fmla="*/ 542483 w 1122265"/>
                    <a:gd name="connsiteY17" fmla="*/ 759031 h 1128713"/>
                    <a:gd name="connsiteX18" fmla="*/ 556060 w 1122265"/>
                    <a:gd name="connsiteY18" fmla="*/ 745453 h 1128713"/>
                    <a:gd name="connsiteX19" fmla="*/ 713972 w 1122265"/>
                    <a:gd name="connsiteY19" fmla="*/ 729732 h 1128713"/>
                    <a:gd name="connsiteX20" fmla="*/ 757558 w 1122265"/>
                    <a:gd name="connsiteY20" fmla="*/ 682567 h 1128713"/>
                    <a:gd name="connsiteX21" fmla="*/ 711828 w 1122265"/>
                    <a:gd name="connsiteY21" fmla="*/ 634688 h 1128713"/>
                    <a:gd name="connsiteX22" fmla="*/ 408151 w 1122265"/>
                    <a:gd name="connsiteY22" fmla="*/ 618966 h 1128713"/>
                    <a:gd name="connsiteX23" fmla="*/ 389667 w 1122265"/>
                    <a:gd name="connsiteY23" fmla="*/ 587375 h 1128713"/>
                    <a:gd name="connsiteX24" fmla="*/ 393235 w 1122265"/>
                    <a:gd name="connsiteY24" fmla="*/ 587375 h 1128713"/>
                    <a:gd name="connsiteX25" fmla="*/ 396090 w 1122265"/>
                    <a:gd name="connsiteY25" fmla="*/ 587375 h 1128713"/>
                    <a:gd name="connsiteX26" fmla="*/ 398944 w 1122265"/>
                    <a:gd name="connsiteY26" fmla="*/ 587375 h 1128713"/>
                    <a:gd name="connsiteX27" fmla="*/ 402513 w 1122265"/>
                    <a:gd name="connsiteY27" fmla="*/ 587375 h 1128713"/>
                    <a:gd name="connsiteX28" fmla="*/ 410363 w 1122265"/>
                    <a:gd name="connsiteY28" fmla="*/ 587375 h 1128713"/>
                    <a:gd name="connsiteX29" fmla="*/ 714389 w 1122265"/>
                    <a:gd name="connsiteY29" fmla="*/ 603087 h 1128713"/>
                    <a:gd name="connsiteX30" fmla="*/ 779333 w 1122265"/>
                    <a:gd name="connsiteY30" fmla="*/ 643794 h 1128713"/>
                    <a:gd name="connsiteX31" fmla="*/ 781474 w 1122265"/>
                    <a:gd name="connsiteY31" fmla="*/ 648079 h 1128713"/>
                    <a:gd name="connsiteX32" fmla="*/ 787897 w 1122265"/>
                    <a:gd name="connsiteY32" fmla="*/ 666648 h 1128713"/>
                    <a:gd name="connsiteX33" fmla="*/ 789324 w 1122265"/>
                    <a:gd name="connsiteY33" fmla="*/ 682359 h 1128713"/>
                    <a:gd name="connsiteX34" fmla="*/ 788611 w 1122265"/>
                    <a:gd name="connsiteY34" fmla="*/ 688073 h 1128713"/>
                    <a:gd name="connsiteX35" fmla="*/ 788611 w 1122265"/>
                    <a:gd name="connsiteY35" fmla="*/ 688787 h 1128713"/>
                    <a:gd name="connsiteX36" fmla="*/ 787897 w 1122265"/>
                    <a:gd name="connsiteY36" fmla="*/ 694500 h 1128713"/>
                    <a:gd name="connsiteX37" fmla="*/ 762918 w 1122265"/>
                    <a:gd name="connsiteY37" fmla="*/ 741635 h 1128713"/>
                    <a:gd name="connsiteX38" fmla="*/ 762205 w 1122265"/>
                    <a:gd name="connsiteY38" fmla="*/ 741635 h 1128713"/>
                    <a:gd name="connsiteX39" fmla="*/ 757923 w 1122265"/>
                    <a:gd name="connsiteY39" fmla="*/ 745206 h 1128713"/>
                    <a:gd name="connsiteX40" fmla="*/ 753641 w 1122265"/>
                    <a:gd name="connsiteY40" fmla="*/ 748063 h 1128713"/>
                    <a:gd name="connsiteX41" fmla="*/ 752927 w 1122265"/>
                    <a:gd name="connsiteY41" fmla="*/ 748777 h 1128713"/>
                    <a:gd name="connsiteX42" fmla="*/ 748645 w 1122265"/>
                    <a:gd name="connsiteY42" fmla="*/ 751633 h 1128713"/>
                    <a:gd name="connsiteX43" fmla="*/ 747218 w 1122265"/>
                    <a:gd name="connsiteY43" fmla="*/ 752348 h 1128713"/>
                    <a:gd name="connsiteX44" fmla="*/ 742222 w 1122265"/>
                    <a:gd name="connsiteY44" fmla="*/ 754490 h 1128713"/>
                    <a:gd name="connsiteX45" fmla="*/ 741508 w 1122265"/>
                    <a:gd name="connsiteY45" fmla="*/ 755204 h 1128713"/>
                    <a:gd name="connsiteX46" fmla="*/ 737226 w 1122265"/>
                    <a:gd name="connsiteY46" fmla="*/ 756633 h 1128713"/>
                    <a:gd name="connsiteX47" fmla="*/ 717957 w 1122265"/>
                    <a:gd name="connsiteY47" fmla="*/ 760918 h 1128713"/>
                    <a:gd name="connsiteX48" fmla="*/ 623752 w 1122265"/>
                    <a:gd name="connsiteY48" fmla="*/ 770202 h 1128713"/>
                    <a:gd name="connsiteX49" fmla="*/ 742222 w 1122265"/>
                    <a:gd name="connsiteY49" fmla="*/ 787342 h 1128713"/>
                    <a:gd name="connsiteX50" fmla="*/ 774337 w 1122265"/>
                    <a:gd name="connsiteY50" fmla="*/ 783057 h 1128713"/>
                    <a:gd name="connsiteX51" fmla="*/ 784329 w 1122265"/>
                    <a:gd name="connsiteY51" fmla="*/ 780914 h 1128713"/>
                    <a:gd name="connsiteX52" fmla="*/ 785756 w 1122265"/>
                    <a:gd name="connsiteY52" fmla="*/ 780200 h 1128713"/>
                    <a:gd name="connsiteX53" fmla="*/ 795747 w 1122265"/>
                    <a:gd name="connsiteY53" fmla="*/ 778058 h 1128713"/>
                    <a:gd name="connsiteX54" fmla="*/ 825722 w 1122265"/>
                    <a:gd name="connsiteY54" fmla="*/ 767345 h 1128713"/>
                    <a:gd name="connsiteX55" fmla="*/ 908508 w 1122265"/>
                    <a:gd name="connsiteY55" fmla="*/ 714497 h 1128713"/>
                    <a:gd name="connsiteX56" fmla="*/ 927064 w 1122265"/>
                    <a:gd name="connsiteY56" fmla="*/ 695928 h 1128713"/>
                    <a:gd name="connsiteX57" fmla="*/ 974166 w 1122265"/>
                    <a:gd name="connsiteY57" fmla="*/ 642366 h 1128713"/>
                    <a:gd name="connsiteX58" fmla="*/ 977021 w 1122265"/>
                    <a:gd name="connsiteY58" fmla="*/ 638795 h 1128713"/>
                    <a:gd name="connsiteX59" fmla="*/ 977734 w 1122265"/>
                    <a:gd name="connsiteY59" fmla="*/ 638795 h 1128713"/>
                    <a:gd name="connsiteX60" fmla="*/ 1032687 w 1122265"/>
                    <a:gd name="connsiteY60" fmla="*/ 613799 h 1128713"/>
                    <a:gd name="connsiteX61" fmla="*/ 1033401 w 1122265"/>
                    <a:gd name="connsiteY61" fmla="*/ 613799 h 1128713"/>
                    <a:gd name="connsiteX62" fmla="*/ 1037683 w 1122265"/>
                    <a:gd name="connsiteY62" fmla="*/ 613799 h 1128713"/>
                    <a:gd name="connsiteX63" fmla="*/ 1039111 w 1122265"/>
                    <a:gd name="connsiteY63" fmla="*/ 613799 h 1128713"/>
                    <a:gd name="connsiteX64" fmla="*/ 1078363 w 1122265"/>
                    <a:gd name="connsiteY64" fmla="*/ 624512 h 1128713"/>
                    <a:gd name="connsiteX65" fmla="*/ 1081931 w 1122265"/>
                    <a:gd name="connsiteY65" fmla="*/ 626654 h 1128713"/>
                    <a:gd name="connsiteX66" fmla="*/ 1084786 w 1122265"/>
                    <a:gd name="connsiteY66" fmla="*/ 628083 h 1128713"/>
                    <a:gd name="connsiteX67" fmla="*/ 1085499 w 1122265"/>
                    <a:gd name="connsiteY67" fmla="*/ 628797 h 1128713"/>
                    <a:gd name="connsiteX68" fmla="*/ 1088354 w 1122265"/>
                    <a:gd name="connsiteY68" fmla="*/ 630939 h 1128713"/>
                    <a:gd name="connsiteX69" fmla="*/ 1089068 w 1122265"/>
                    <a:gd name="connsiteY69" fmla="*/ 631653 h 1128713"/>
                    <a:gd name="connsiteX70" fmla="*/ 1091209 w 1122265"/>
                    <a:gd name="connsiteY70" fmla="*/ 633082 h 1128713"/>
                    <a:gd name="connsiteX71" fmla="*/ 1094063 w 1122265"/>
                    <a:gd name="connsiteY71" fmla="*/ 635224 h 1128713"/>
                    <a:gd name="connsiteX72" fmla="*/ 1094063 w 1122265"/>
                    <a:gd name="connsiteY72" fmla="*/ 635938 h 1128713"/>
                    <a:gd name="connsiteX73" fmla="*/ 1101914 w 1122265"/>
                    <a:gd name="connsiteY73" fmla="*/ 753062 h 1128713"/>
                    <a:gd name="connsiteX74" fmla="*/ 1070512 w 1122265"/>
                    <a:gd name="connsiteY74" fmla="*/ 790913 h 1128713"/>
                    <a:gd name="connsiteX75" fmla="*/ 964888 w 1122265"/>
                    <a:gd name="connsiteY75" fmla="*/ 887325 h 1128713"/>
                    <a:gd name="connsiteX76" fmla="*/ 955611 w 1122265"/>
                    <a:gd name="connsiteY76" fmla="*/ 893752 h 1128713"/>
                    <a:gd name="connsiteX77" fmla="*/ 947046 w 1122265"/>
                    <a:gd name="connsiteY77" fmla="*/ 899466 h 1128713"/>
                    <a:gd name="connsiteX78" fmla="*/ 805025 w 1122265"/>
                    <a:gd name="connsiteY78" fmla="*/ 966597 h 1128713"/>
                    <a:gd name="connsiteX79" fmla="*/ 791465 w 1122265"/>
                    <a:gd name="connsiteY79" fmla="*/ 970882 h 1128713"/>
                    <a:gd name="connsiteX80" fmla="*/ 787183 w 1122265"/>
                    <a:gd name="connsiteY80" fmla="*/ 971597 h 1128713"/>
                    <a:gd name="connsiteX81" fmla="*/ 778619 w 1122265"/>
                    <a:gd name="connsiteY81" fmla="*/ 974453 h 1128713"/>
                    <a:gd name="connsiteX82" fmla="*/ 772910 w 1122265"/>
                    <a:gd name="connsiteY82" fmla="*/ 975882 h 1128713"/>
                    <a:gd name="connsiteX83" fmla="*/ 765059 w 1122265"/>
                    <a:gd name="connsiteY83" fmla="*/ 977310 h 1128713"/>
                    <a:gd name="connsiteX84" fmla="*/ 758636 w 1122265"/>
                    <a:gd name="connsiteY84" fmla="*/ 979452 h 1128713"/>
                    <a:gd name="connsiteX85" fmla="*/ 752927 w 1122265"/>
                    <a:gd name="connsiteY85" fmla="*/ 980167 h 1128713"/>
                    <a:gd name="connsiteX86" fmla="*/ 723666 w 1122265"/>
                    <a:gd name="connsiteY86" fmla="*/ 986594 h 1128713"/>
                    <a:gd name="connsiteX87" fmla="*/ 720812 w 1122265"/>
                    <a:gd name="connsiteY87" fmla="*/ 986594 h 1128713"/>
                    <a:gd name="connsiteX88" fmla="*/ 710106 w 1122265"/>
                    <a:gd name="connsiteY88" fmla="*/ 988737 h 1128713"/>
                    <a:gd name="connsiteX89" fmla="*/ 708679 w 1122265"/>
                    <a:gd name="connsiteY89" fmla="*/ 988737 h 1128713"/>
                    <a:gd name="connsiteX90" fmla="*/ 649444 w 1122265"/>
                    <a:gd name="connsiteY90" fmla="*/ 995164 h 1128713"/>
                    <a:gd name="connsiteX91" fmla="*/ 647303 w 1122265"/>
                    <a:gd name="connsiteY91" fmla="*/ 995164 h 1128713"/>
                    <a:gd name="connsiteX92" fmla="*/ 636598 w 1122265"/>
                    <a:gd name="connsiteY92" fmla="*/ 995878 h 1128713"/>
                    <a:gd name="connsiteX93" fmla="*/ 634457 w 1122265"/>
                    <a:gd name="connsiteY93" fmla="*/ 995878 h 1128713"/>
                    <a:gd name="connsiteX94" fmla="*/ 620183 w 1122265"/>
                    <a:gd name="connsiteY94" fmla="*/ 995878 h 1128713"/>
                    <a:gd name="connsiteX95" fmla="*/ 619470 w 1122265"/>
                    <a:gd name="connsiteY95" fmla="*/ 995878 h 1128713"/>
                    <a:gd name="connsiteX96" fmla="*/ 611619 w 1122265"/>
                    <a:gd name="connsiteY96" fmla="*/ 995878 h 1128713"/>
                    <a:gd name="connsiteX97" fmla="*/ 605196 w 1122265"/>
                    <a:gd name="connsiteY97" fmla="*/ 995878 h 1128713"/>
                    <a:gd name="connsiteX98" fmla="*/ 598060 w 1122265"/>
                    <a:gd name="connsiteY98" fmla="*/ 995878 h 1128713"/>
                    <a:gd name="connsiteX99" fmla="*/ 591637 w 1122265"/>
                    <a:gd name="connsiteY99" fmla="*/ 995878 h 1128713"/>
                    <a:gd name="connsiteX100" fmla="*/ 583786 w 1122265"/>
                    <a:gd name="connsiteY100" fmla="*/ 995164 h 1128713"/>
                    <a:gd name="connsiteX101" fmla="*/ 578077 w 1122265"/>
                    <a:gd name="connsiteY101" fmla="*/ 995164 h 1128713"/>
                    <a:gd name="connsiteX102" fmla="*/ 565944 w 1122265"/>
                    <a:gd name="connsiteY102" fmla="*/ 994450 h 1128713"/>
                    <a:gd name="connsiteX103" fmla="*/ 565231 w 1122265"/>
                    <a:gd name="connsiteY103" fmla="*/ 994450 h 1128713"/>
                    <a:gd name="connsiteX104" fmla="*/ 484585 w 1122265"/>
                    <a:gd name="connsiteY104" fmla="*/ 988737 h 1128713"/>
                    <a:gd name="connsiteX105" fmla="*/ 416073 w 1122265"/>
                    <a:gd name="connsiteY105" fmla="*/ 983737 h 1128713"/>
                    <a:gd name="connsiteX106" fmla="*/ 410363 w 1122265"/>
                    <a:gd name="connsiteY106" fmla="*/ 983737 h 1128713"/>
                    <a:gd name="connsiteX107" fmla="*/ 406795 w 1122265"/>
                    <a:gd name="connsiteY107" fmla="*/ 983737 h 1128713"/>
                    <a:gd name="connsiteX108" fmla="*/ 392521 w 1122265"/>
                    <a:gd name="connsiteY108" fmla="*/ 985166 h 1128713"/>
                    <a:gd name="connsiteX109" fmla="*/ 388239 w 1122265"/>
                    <a:gd name="connsiteY109" fmla="*/ 985880 h 1128713"/>
                    <a:gd name="connsiteX110" fmla="*/ 388239 w 1122265"/>
                    <a:gd name="connsiteY110" fmla="*/ 986594 h 1128713"/>
                    <a:gd name="connsiteX111" fmla="*/ 383957 w 1122265"/>
                    <a:gd name="connsiteY111" fmla="*/ 987308 h 1128713"/>
                    <a:gd name="connsiteX112" fmla="*/ 383244 w 1122265"/>
                    <a:gd name="connsiteY112" fmla="*/ 988022 h 1128713"/>
                    <a:gd name="connsiteX113" fmla="*/ 378961 w 1122265"/>
                    <a:gd name="connsiteY113" fmla="*/ 989451 h 1128713"/>
                    <a:gd name="connsiteX114" fmla="*/ 21410 w 1122265"/>
                    <a:gd name="connsiteY114" fmla="*/ 1127999 h 1128713"/>
                    <a:gd name="connsiteX115" fmla="*/ 15701 w 1122265"/>
                    <a:gd name="connsiteY115" fmla="*/ 1128713 h 1128713"/>
                    <a:gd name="connsiteX116" fmla="*/ 7137 w 1122265"/>
                    <a:gd name="connsiteY116" fmla="*/ 1125856 h 1128713"/>
                    <a:gd name="connsiteX117" fmla="*/ 0 w 1122265"/>
                    <a:gd name="connsiteY117" fmla="*/ 1113001 h 1128713"/>
                    <a:gd name="connsiteX118" fmla="*/ 0 w 1122265"/>
                    <a:gd name="connsiteY118" fmla="*/ 796626 h 1128713"/>
                    <a:gd name="connsiteX119" fmla="*/ 7851 w 1122265"/>
                    <a:gd name="connsiteY119" fmla="*/ 783057 h 1128713"/>
                    <a:gd name="connsiteX120" fmla="*/ 309735 w 1122265"/>
                    <a:gd name="connsiteY120" fmla="*/ 611657 h 1128713"/>
                    <a:gd name="connsiteX121" fmla="*/ 315444 w 1122265"/>
                    <a:gd name="connsiteY121" fmla="*/ 608800 h 1128713"/>
                    <a:gd name="connsiteX122" fmla="*/ 317585 w 1122265"/>
                    <a:gd name="connsiteY122" fmla="*/ 607372 h 1128713"/>
                    <a:gd name="connsiteX123" fmla="*/ 320440 w 1122265"/>
                    <a:gd name="connsiteY123" fmla="*/ 605943 h 1128713"/>
                    <a:gd name="connsiteX124" fmla="*/ 324009 w 1122265"/>
                    <a:gd name="connsiteY124" fmla="*/ 604515 h 1128713"/>
                    <a:gd name="connsiteX125" fmla="*/ 326150 w 1122265"/>
                    <a:gd name="connsiteY125" fmla="*/ 603087 h 1128713"/>
                    <a:gd name="connsiteX126" fmla="*/ 329718 w 1122265"/>
                    <a:gd name="connsiteY126" fmla="*/ 601658 h 1128713"/>
                    <a:gd name="connsiteX127" fmla="*/ 331859 w 1122265"/>
                    <a:gd name="connsiteY127" fmla="*/ 600944 h 1128713"/>
                    <a:gd name="connsiteX128" fmla="*/ 336141 w 1122265"/>
                    <a:gd name="connsiteY128" fmla="*/ 599516 h 1128713"/>
                    <a:gd name="connsiteX129" fmla="*/ 337568 w 1122265"/>
                    <a:gd name="connsiteY129" fmla="*/ 598802 h 1128713"/>
                    <a:gd name="connsiteX130" fmla="*/ 341850 w 1122265"/>
                    <a:gd name="connsiteY130" fmla="*/ 597373 h 1128713"/>
                    <a:gd name="connsiteX131" fmla="*/ 342564 w 1122265"/>
                    <a:gd name="connsiteY131" fmla="*/ 596659 h 1128713"/>
                    <a:gd name="connsiteX132" fmla="*/ 347560 w 1122265"/>
                    <a:gd name="connsiteY132" fmla="*/ 595231 h 1128713"/>
                    <a:gd name="connsiteX133" fmla="*/ 348273 w 1122265"/>
                    <a:gd name="connsiteY133" fmla="*/ 595231 h 1128713"/>
                    <a:gd name="connsiteX134" fmla="*/ 381816 w 1122265"/>
                    <a:gd name="connsiteY134" fmla="*/ 588089 h 1128713"/>
                    <a:gd name="connsiteX135" fmla="*/ 383244 w 1122265"/>
                    <a:gd name="connsiteY135" fmla="*/ 588089 h 1128713"/>
                    <a:gd name="connsiteX136" fmla="*/ 386812 w 1122265"/>
                    <a:gd name="connsiteY136" fmla="*/ 588089 h 1128713"/>
                    <a:gd name="connsiteX137" fmla="*/ 389667 w 1122265"/>
                    <a:gd name="connsiteY137" fmla="*/ 587375 h 1128713"/>
                    <a:gd name="connsiteX138" fmla="*/ 637653 w 1122265"/>
                    <a:gd name="connsiteY138" fmla="*/ 0 h 1128713"/>
                    <a:gd name="connsiteX139" fmla="*/ 747520 w 1122265"/>
                    <a:gd name="connsiteY139" fmla="*/ 0 h 1128713"/>
                    <a:gd name="connsiteX140" fmla="*/ 783905 w 1122265"/>
                    <a:gd name="connsiteY140" fmla="*/ 15718 h 1128713"/>
                    <a:gd name="connsiteX141" fmla="*/ 788186 w 1122265"/>
                    <a:gd name="connsiteY141" fmla="*/ 32151 h 1128713"/>
                    <a:gd name="connsiteX142" fmla="*/ 857388 w 1122265"/>
                    <a:gd name="connsiteY142" fmla="*/ 90738 h 1128713"/>
                    <a:gd name="connsiteX143" fmla="*/ 791039 w 1122265"/>
                    <a:gd name="connsiteY143" fmla="*/ 169329 h 1128713"/>
                    <a:gd name="connsiteX144" fmla="*/ 790326 w 1122265"/>
                    <a:gd name="connsiteY144" fmla="*/ 170044 h 1128713"/>
                    <a:gd name="connsiteX145" fmla="*/ 783905 w 1122265"/>
                    <a:gd name="connsiteY145" fmla="*/ 181475 h 1128713"/>
                    <a:gd name="connsiteX146" fmla="*/ 787472 w 1122265"/>
                    <a:gd name="connsiteY146" fmla="*/ 187191 h 1128713"/>
                    <a:gd name="connsiteX147" fmla="*/ 1020049 w 1122265"/>
                    <a:gd name="connsiteY147" fmla="*/ 572291 h 1128713"/>
                    <a:gd name="connsiteX148" fmla="*/ 1020762 w 1122265"/>
                    <a:gd name="connsiteY148" fmla="*/ 584437 h 1128713"/>
                    <a:gd name="connsiteX149" fmla="*/ 1005067 w 1122265"/>
                    <a:gd name="connsiteY149" fmla="*/ 588009 h 1128713"/>
                    <a:gd name="connsiteX150" fmla="*/ 989371 w 1122265"/>
                    <a:gd name="connsiteY150" fmla="*/ 593725 h 1128713"/>
                    <a:gd name="connsiteX151" fmla="*/ 989371 w 1122265"/>
                    <a:gd name="connsiteY151" fmla="*/ 574434 h 1128713"/>
                    <a:gd name="connsiteX152" fmla="*/ 988658 w 1122265"/>
                    <a:gd name="connsiteY152" fmla="*/ 573005 h 1128713"/>
                    <a:gd name="connsiteX153" fmla="*/ 767496 w 1122265"/>
                    <a:gd name="connsiteY153" fmla="*/ 211483 h 1128713"/>
                    <a:gd name="connsiteX154" fmla="*/ 752514 w 1122265"/>
                    <a:gd name="connsiteY154" fmla="*/ 181475 h 1128713"/>
                    <a:gd name="connsiteX155" fmla="*/ 769636 w 1122265"/>
                    <a:gd name="connsiteY155" fmla="*/ 146466 h 1128713"/>
                    <a:gd name="connsiteX156" fmla="*/ 824570 w 1122265"/>
                    <a:gd name="connsiteY156" fmla="*/ 88594 h 1128713"/>
                    <a:gd name="connsiteX157" fmla="*/ 778198 w 1122265"/>
                    <a:gd name="connsiteY157" fmla="*/ 62873 h 1128713"/>
                    <a:gd name="connsiteX158" fmla="*/ 752514 w 1122265"/>
                    <a:gd name="connsiteY158" fmla="*/ 115030 h 1128713"/>
                    <a:gd name="connsiteX159" fmla="*/ 738246 w 1122265"/>
                    <a:gd name="connsiteY159" fmla="*/ 124318 h 1128713"/>
                    <a:gd name="connsiteX160" fmla="*/ 731825 w 1122265"/>
                    <a:gd name="connsiteY160" fmla="*/ 122889 h 1128713"/>
                    <a:gd name="connsiteX161" fmla="*/ 722550 w 1122265"/>
                    <a:gd name="connsiteY161" fmla="*/ 108599 h 1128713"/>
                    <a:gd name="connsiteX162" fmla="*/ 723977 w 1122265"/>
                    <a:gd name="connsiteY162" fmla="*/ 102169 h 1128713"/>
                    <a:gd name="connsiteX163" fmla="*/ 751801 w 1122265"/>
                    <a:gd name="connsiteY163" fmla="*/ 46440 h 1128713"/>
                    <a:gd name="connsiteX164" fmla="*/ 753228 w 1122265"/>
                    <a:gd name="connsiteY164" fmla="*/ 42868 h 1128713"/>
                    <a:gd name="connsiteX165" fmla="*/ 756795 w 1122265"/>
                    <a:gd name="connsiteY165" fmla="*/ 32866 h 1128713"/>
                    <a:gd name="connsiteX166" fmla="*/ 748234 w 1122265"/>
                    <a:gd name="connsiteY166" fmla="*/ 31437 h 1128713"/>
                    <a:gd name="connsiteX167" fmla="*/ 747520 w 1122265"/>
                    <a:gd name="connsiteY167" fmla="*/ 31437 h 1128713"/>
                    <a:gd name="connsiteX168" fmla="*/ 637653 w 1122265"/>
                    <a:gd name="connsiteY168" fmla="*/ 31437 h 1128713"/>
                    <a:gd name="connsiteX169" fmla="*/ 636226 w 1122265"/>
                    <a:gd name="connsiteY169" fmla="*/ 31437 h 1128713"/>
                    <a:gd name="connsiteX170" fmla="*/ 628378 w 1122265"/>
                    <a:gd name="connsiteY170" fmla="*/ 32866 h 1128713"/>
                    <a:gd name="connsiteX171" fmla="*/ 631945 w 1122265"/>
                    <a:gd name="connsiteY171" fmla="*/ 42868 h 1128713"/>
                    <a:gd name="connsiteX172" fmla="*/ 633372 w 1122265"/>
                    <a:gd name="connsiteY172" fmla="*/ 46440 h 1128713"/>
                    <a:gd name="connsiteX173" fmla="*/ 661196 w 1122265"/>
                    <a:gd name="connsiteY173" fmla="*/ 102169 h 1128713"/>
                    <a:gd name="connsiteX174" fmla="*/ 662623 w 1122265"/>
                    <a:gd name="connsiteY174" fmla="*/ 108599 h 1128713"/>
                    <a:gd name="connsiteX175" fmla="*/ 653348 w 1122265"/>
                    <a:gd name="connsiteY175" fmla="*/ 122889 h 1128713"/>
                    <a:gd name="connsiteX176" fmla="*/ 632659 w 1122265"/>
                    <a:gd name="connsiteY176" fmla="*/ 115030 h 1128713"/>
                    <a:gd name="connsiteX177" fmla="*/ 606975 w 1122265"/>
                    <a:gd name="connsiteY177" fmla="*/ 62873 h 1128713"/>
                    <a:gd name="connsiteX178" fmla="*/ 560603 w 1122265"/>
                    <a:gd name="connsiteY178" fmla="*/ 88594 h 1128713"/>
                    <a:gd name="connsiteX179" fmla="*/ 615537 w 1122265"/>
                    <a:gd name="connsiteY179" fmla="*/ 146466 h 1128713"/>
                    <a:gd name="connsiteX180" fmla="*/ 632659 w 1122265"/>
                    <a:gd name="connsiteY180" fmla="*/ 181475 h 1128713"/>
                    <a:gd name="connsiteX181" fmla="*/ 617677 w 1122265"/>
                    <a:gd name="connsiteY181" fmla="*/ 211483 h 1128713"/>
                    <a:gd name="connsiteX182" fmla="*/ 397228 w 1122265"/>
                    <a:gd name="connsiteY182" fmla="*/ 556572 h 1128713"/>
                    <a:gd name="connsiteX183" fmla="*/ 380820 w 1122265"/>
                    <a:gd name="connsiteY183" fmla="*/ 557287 h 1128713"/>
                    <a:gd name="connsiteX184" fmla="*/ 365124 w 1122265"/>
                    <a:gd name="connsiteY184" fmla="*/ 559430 h 1128713"/>
                    <a:gd name="connsiteX185" fmla="*/ 597701 w 1122265"/>
                    <a:gd name="connsiteY185" fmla="*/ 187191 h 1128713"/>
                    <a:gd name="connsiteX186" fmla="*/ 601268 w 1122265"/>
                    <a:gd name="connsiteY186" fmla="*/ 181475 h 1128713"/>
                    <a:gd name="connsiteX187" fmla="*/ 594847 w 1122265"/>
                    <a:gd name="connsiteY187" fmla="*/ 170044 h 1128713"/>
                    <a:gd name="connsiteX188" fmla="*/ 594134 w 1122265"/>
                    <a:gd name="connsiteY188" fmla="*/ 169329 h 1128713"/>
                    <a:gd name="connsiteX189" fmla="*/ 527785 w 1122265"/>
                    <a:gd name="connsiteY189" fmla="*/ 90738 h 1128713"/>
                    <a:gd name="connsiteX190" fmla="*/ 596988 w 1122265"/>
                    <a:gd name="connsiteY190" fmla="*/ 32151 h 1128713"/>
                    <a:gd name="connsiteX191" fmla="*/ 601268 w 1122265"/>
                    <a:gd name="connsiteY191" fmla="*/ 15718 h 1128713"/>
                    <a:gd name="connsiteX192" fmla="*/ 637653 w 1122265"/>
                    <a:gd name="connsiteY192" fmla="*/ 0 h 11287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</a:cxnLst>
                  <a:rect l="l" t="t" r="r" b="b"/>
                  <a:pathLst>
                    <a:path w="1122265" h="1128713">
                      <a:moveTo>
                        <a:pt x="408151" y="618966"/>
                      </a:moveTo>
                      <a:cubicBezTo>
                        <a:pt x="378855" y="617537"/>
                        <a:pt x="349559" y="624683"/>
                        <a:pt x="324550" y="638976"/>
                      </a:cubicBezTo>
                      <a:cubicBezTo>
                        <a:pt x="324550" y="638976"/>
                        <a:pt x="324550" y="638976"/>
                        <a:pt x="30162" y="806195"/>
                      </a:cubicBezTo>
                      <a:cubicBezTo>
                        <a:pt x="30162" y="806195"/>
                        <a:pt x="30162" y="806195"/>
                        <a:pt x="30162" y="1090612"/>
                      </a:cubicBezTo>
                      <a:cubicBezTo>
                        <a:pt x="30162" y="1090612"/>
                        <a:pt x="30162" y="1090612"/>
                        <a:pt x="366708" y="960552"/>
                      </a:cubicBezTo>
                      <a:cubicBezTo>
                        <a:pt x="383142" y="954121"/>
                        <a:pt x="400291" y="951262"/>
                        <a:pt x="417440" y="952691"/>
                      </a:cubicBezTo>
                      <a:cubicBezTo>
                        <a:pt x="417440" y="952691"/>
                        <a:pt x="417440" y="952691"/>
                        <a:pt x="566778" y="963411"/>
                      </a:cubicBezTo>
                      <a:cubicBezTo>
                        <a:pt x="643947" y="969128"/>
                        <a:pt x="721117" y="959838"/>
                        <a:pt x="795429" y="936970"/>
                      </a:cubicBezTo>
                      <a:cubicBezTo>
                        <a:pt x="893320" y="906242"/>
                        <a:pt x="979779" y="849072"/>
                        <a:pt x="1046230" y="770465"/>
                      </a:cubicBezTo>
                      <a:cubicBezTo>
                        <a:pt x="1046230" y="770465"/>
                        <a:pt x="1046230" y="770465"/>
                        <a:pt x="1078384" y="733305"/>
                      </a:cubicBezTo>
                      <a:cubicBezTo>
                        <a:pt x="1096962" y="711152"/>
                        <a:pt x="1094819" y="678279"/>
                        <a:pt x="1073383" y="658985"/>
                      </a:cubicBezTo>
                      <a:cubicBezTo>
                        <a:pt x="1062665" y="649695"/>
                        <a:pt x="1049088" y="644692"/>
                        <a:pt x="1034798" y="645407"/>
                      </a:cubicBezTo>
                      <a:cubicBezTo>
                        <a:pt x="1020507" y="646122"/>
                        <a:pt x="1006931" y="652553"/>
                        <a:pt x="997642" y="663272"/>
                      </a:cubicBezTo>
                      <a:cubicBezTo>
                        <a:pt x="997642" y="663272"/>
                        <a:pt x="997642" y="663272"/>
                        <a:pt x="949768" y="716869"/>
                      </a:cubicBezTo>
                      <a:cubicBezTo>
                        <a:pt x="911183" y="761175"/>
                        <a:pt x="860451" y="792618"/>
                        <a:pt x="804003" y="808339"/>
                      </a:cubicBezTo>
                      <a:cubicBezTo>
                        <a:pt x="738980" y="826919"/>
                        <a:pt x="668956" y="822632"/>
                        <a:pt x="606792" y="797620"/>
                      </a:cubicBezTo>
                      <a:cubicBezTo>
                        <a:pt x="606792" y="797620"/>
                        <a:pt x="606792" y="797620"/>
                        <a:pt x="551772" y="775467"/>
                      </a:cubicBezTo>
                      <a:cubicBezTo>
                        <a:pt x="545342" y="772609"/>
                        <a:pt x="541054" y="766177"/>
                        <a:pt x="542483" y="759031"/>
                      </a:cubicBezTo>
                      <a:cubicBezTo>
                        <a:pt x="543198" y="751885"/>
                        <a:pt x="548914" y="746168"/>
                        <a:pt x="556060" y="745453"/>
                      </a:cubicBezTo>
                      <a:cubicBezTo>
                        <a:pt x="556060" y="745453"/>
                        <a:pt x="556060" y="745453"/>
                        <a:pt x="713972" y="729732"/>
                      </a:cubicBezTo>
                      <a:cubicBezTo>
                        <a:pt x="738980" y="727588"/>
                        <a:pt x="757558" y="706864"/>
                        <a:pt x="757558" y="682567"/>
                      </a:cubicBezTo>
                      <a:cubicBezTo>
                        <a:pt x="757558" y="656841"/>
                        <a:pt x="737551" y="636117"/>
                        <a:pt x="711828" y="634688"/>
                      </a:cubicBezTo>
                      <a:cubicBezTo>
                        <a:pt x="711828" y="634688"/>
                        <a:pt x="711828" y="634688"/>
                        <a:pt x="408151" y="618966"/>
                      </a:cubicBezTo>
                      <a:close/>
                      <a:moveTo>
                        <a:pt x="389667" y="587375"/>
                      </a:moveTo>
                      <a:cubicBezTo>
                        <a:pt x="391094" y="587375"/>
                        <a:pt x="391808" y="587375"/>
                        <a:pt x="393235" y="587375"/>
                      </a:cubicBezTo>
                      <a:cubicBezTo>
                        <a:pt x="393949" y="587375"/>
                        <a:pt x="395376" y="587375"/>
                        <a:pt x="396090" y="587375"/>
                      </a:cubicBezTo>
                      <a:cubicBezTo>
                        <a:pt x="397517" y="587375"/>
                        <a:pt x="398231" y="587375"/>
                        <a:pt x="398944" y="587375"/>
                      </a:cubicBezTo>
                      <a:cubicBezTo>
                        <a:pt x="400372" y="587375"/>
                        <a:pt x="401085" y="587375"/>
                        <a:pt x="402513" y="587375"/>
                      </a:cubicBezTo>
                      <a:cubicBezTo>
                        <a:pt x="404654" y="587375"/>
                        <a:pt x="407508" y="587375"/>
                        <a:pt x="410363" y="587375"/>
                      </a:cubicBezTo>
                      <a:cubicBezTo>
                        <a:pt x="410363" y="587375"/>
                        <a:pt x="410363" y="587375"/>
                        <a:pt x="714389" y="603087"/>
                      </a:cubicBezTo>
                      <a:cubicBezTo>
                        <a:pt x="742222" y="604515"/>
                        <a:pt x="765773" y="620941"/>
                        <a:pt x="779333" y="643794"/>
                      </a:cubicBezTo>
                      <a:cubicBezTo>
                        <a:pt x="780047" y="645223"/>
                        <a:pt x="780760" y="646651"/>
                        <a:pt x="781474" y="648079"/>
                      </a:cubicBezTo>
                      <a:cubicBezTo>
                        <a:pt x="784329" y="653793"/>
                        <a:pt x="786470" y="660220"/>
                        <a:pt x="787897" y="666648"/>
                      </a:cubicBezTo>
                      <a:cubicBezTo>
                        <a:pt x="788611" y="671647"/>
                        <a:pt x="789324" y="676646"/>
                        <a:pt x="789324" y="682359"/>
                      </a:cubicBezTo>
                      <a:cubicBezTo>
                        <a:pt x="789324" y="684502"/>
                        <a:pt x="789324" y="685930"/>
                        <a:pt x="788611" y="688073"/>
                      </a:cubicBezTo>
                      <a:cubicBezTo>
                        <a:pt x="788611" y="688073"/>
                        <a:pt x="788611" y="688787"/>
                        <a:pt x="788611" y="688787"/>
                      </a:cubicBezTo>
                      <a:cubicBezTo>
                        <a:pt x="788611" y="690929"/>
                        <a:pt x="788611" y="692358"/>
                        <a:pt x="787897" y="694500"/>
                      </a:cubicBezTo>
                      <a:cubicBezTo>
                        <a:pt x="785042" y="713068"/>
                        <a:pt x="775765" y="729494"/>
                        <a:pt x="762918" y="741635"/>
                      </a:cubicBezTo>
                      <a:cubicBezTo>
                        <a:pt x="762918" y="741635"/>
                        <a:pt x="762205" y="741635"/>
                        <a:pt x="762205" y="741635"/>
                      </a:cubicBezTo>
                      <a:cubicBezTo>
                        <a:pt x="760777" y="743063"/>
                        <a:pt x="759350" y="743778"/>
                        <a:pt x="757923" y="745206"/>
                      </a:cubicBezTo>
                      <a:cubicBezTo>
                        <a:pt x="756495" y="746634"/>
                        <a:pt x="755068" y="747348"/>
                        <a:pt x="753641" y="748063"/>
                      </a:cubicBezTo>
                      <a:cubicBezTo>
                        <a:pt x="752927" y="748777"/>
                        <a:pt x="752927" y="748777"/>
                        <a:pt x="752927" y="748777"/>
                      </a:cubicBezTo>
                      <a:cubicBezTo>
                        <a:pt x="751500" y="749491"/>
                        <a:pt x="750072" y="750919"/>
                        <a:pt x="748645" y="751633"/>
                      </a:cubicBezTo>
                      <a:cubicBezTo>
                        <a:pt x="747931" y="751633"/>
                        <a:pt x="747218" y="751633"/>
                        <a:pt x="747218" y="752348"/>
                      </a:cubicBezTo>
                      <a:cubicBezTo>
                        <a:pt x="745790" y="753062"/>
                        <a:pt x="744363" y="753776"/>
                        <a:pt x="742222" y="754490"/>
                      </a:cubicBezTo>
                      <a:cubicBezTo>
                        <a:pt x="742222" y="754490"/>
                        <a:pt x="741508" y="754490"/>
                        <a:pt x="741508" y="755204"/>
                      </a:cubicBezTo>
                      <a:cubicBezTo>
                        <a:pt x="740081" y="755204"/>
                        <a:pt x="738653" y="755918"/>
                        <a:pt x="737226" y="756633"/>
                      </a:cubicBezTo>
                      <a:cubicBezTo>
                        <a:pt x="730803" y="758775"/>
                        <a:pt x="724380" y="760203"/>
                        <a:pt x="717957" y="760918"/>
                      </a:cubicBezTo>
                      <a:cubicBezTo>
                        <a:pt x="717957" y="760918"/>
                        <a:pt x="717957" y="760918"/>
                        <a:pt x="623752" y="770202"/>
                      </a:cubicBezTo>
                      <a:cubicBezTo>
                        <a:pt x="661577" y="784485"/>
                        <a:pt x="702256" y="790198"/>
                        <a:pt x="742222" y="787342"/>
                      </a:cubicBezTo>
                      <a:cubicBezTo>
                        <a:pt x="752927" y="786628"/>
                        <a:pt x="763632" y="785199"/>
                        <a:pt x="774337" y="783057"/>
                      </a:cubicBezTo>
                      <a:cubicBezTo>
                        <a:pt x="777906" y="782343"/>
                        <a:pt x="780760" y="781628"/>
                        <a:pt x="784329" y="780914"/>
                      </a:cubicBezTo>
                      <a:cubicBezTo>
                        <a:pt x="785042" y="780914"/>
                        <a:pt x="785042" y="780914"/>
                        <a:pt x="785756" y="780200"/>
                      </a:cubicBezTo>
                      <a:cubicBezTo>
                        <a:pt x="789324" y="779486"/>
                        <a:pt x="792179" y="778772"/>
                        <a:pt x="795747" y="778058"/>
                      </a:cubicBezTo>
                      <a:cubicBezTo>
                        <a:pt x="805739" y="775201"/>
                        <a:pt x="815730" y="771630"/>
                        <a:pt x="825722" y="767345"/>
                      </a:cubicBezTo>
                      <a:cubicBezTo>
                        <a:pt x="856410" y="755204"/>
                        <a:pt x="884243" y="737350"/>
                        <a:pt x="908508" y="714497"/>
                      </a:cubicBezTo>
                      <a:cubicBezTo>
                        <a:pt x="914931" y="708783"/>
                        <a:pt x="920641" y="702356"/>
                        <a:pt x="927064" y="695928"/>
                      </a:cubicBezTo>
                      <a:cubicBezTo>
                        <a:pt x="927064" y="695928"/>
                        <a:pt x="927064" y="695928"/>
                        <a:pt x="974166" y="642366"/>
                      </a:cubicBezTo>
                      <a:cubicBezTo>
                        <a:pt x="975593" y="640938"/>
                        <a:pt x="976307" y="640223"/>
                        <a:pt x="977021" y="638795"/>
                      </a:cubicBezTo>
                      <a:cubicBezTo>
                        <a:pt x="977734" y="638795"/>
                        <a:pt x="977734" y="638795"/>
                        <a:pt x="977734" y="638795"/>
                      </a:cubicBezTo>
                      <a:cubicBezTo>
                        <a:pt x="992722" y="623798"/>
                        <a:pt x="1011991" y="615228"/>
                        <a:pt x="1032687" y="613799"/>
                      </a:cubicBezTo>
                      <a:cubicBezTo>
                        <a:pt x="1033401" y="613799"/>
                        <a:pt x="1033401" y="613799"/>
                        <a:pt x="1033401" y="613799"/>
                      </a:cubicBezTo>
                      <a:cubicBezTo>
                        <a:pt x="1034828" y="613799"/>
                        <a:pt x="1036256" y="613799"/>
                        <a:pt x="1037683" y="613799"/>
                      </a:cubicBezTo>
                      <a:cubicBezTo>
                        <a:pt x="1037683" y="613799"/>
                        <a:pt x="1038397" y="613799"/>
                        <a:pt x="1039111" y="613799"/>
                      </a:cubicBezTo>
                      <a:cubicBezTo>
                        <a:pt x="1052670" y="613799"/>
                        <a:pt x="1066230" y="618084"/>
                        <a:pt x="1078363" y="624512"/>
                      </a:cubicBezTo>
                      <a:cubicBezTo>
                        <a:pt x="1079790" y="625226"/>
                        <a:pt x="1080504" y="625940"/>
                        <a:pt x="1081931" y="626654"/>
                      </a:cubicBezTo>
                      <a:cubicBezTo>
                        <a:pt x="1083358" y="627368"/>
                        <a:pt x="1084072" y="628083"/>
                        <a:pt x="1084786" y="628083"/>
                      </a:cubicBezTo>
                      <a:cubicBezTo>
                        <a:pt x="1085499" y="628797"/>
                        <a:pt x="1085499" y="628797"/>
                        <a:pt x="1085499" y="628797"/>
                      </a:cubicBezTo>
                      <a:cubicBezTo>
                        <a:pt x="1086213" y="629511"/>
                        <a:pt x="1087640" y="630225"/>
                        <a:pt x="1088354" y="630939"/>
                      </a:cubicBezTo>
                      <a:cubicBezTo>
                        <a:pt x="1088354" y="630939"/>
                        <a:pt x="1089068" y="631653"/>
                        <a:pt x="1089068" y="631653"/>
                      </a:cubicBezTo>
                      <a:cubicBezTo>
                        <a:pt x="1089781" y="632368"/>
                        <a:pt x="1090495" y="632368"/>
                        <a:pt x="1091209" y="633082"/>
                      </a:cubicBezTo>
                      <a:cubicBezTo>
                        <a:pt x="1091922" y="633796"/>
                        <a:pt x="1092636" y="634510"/>
                        <a:pt x="1094063" y="635224"/>
                      </a:cubicBezTo>
                      <a:cubicBezTo>
                        <a:pt x="1094063" y="635224"/>
                        <a:pt x="1094063" y="635938"/>
                        <a:pt x="1094063" y="635938"/>
                      </a:cubicBezTo>
                      <a:cubicBezTo>
                        <a:pt x="1128320" y="666648"/>
                        <a:pt x="1131888" y="718068"/>
                        <a:pt x="1101914" y="753062"/>
                      </a:cubicBezTo>
                      <a:cubicBezTo>
                        <a:pt x="1101914" y="753062"/>
                        <a:pt x="1101914" y="753062"/>
                        <a:pt x="1070512" y="790913"/>
                      </a:cubicBezTo>
                      <a:cubicBezTo>
                        <a:pt x="1039111" y="827335"/>
                        <a:pt x="1003427" y="860187"/>
                        <a:pt x="964888" y="887325"/>
                      </a:cubicBezTo>
                      <a:cubicBezTo>
                        <a:pt x="962034" y="889467"/>
                        <a:pt x="958465" y="891610"/>
                        <a:pt x="955611" y="893752"/>
                      </a:cubicBezTo>
                      <a:cubicBezTo>
                        <a:pt x="952756" y="895895"/>
                        <a:pt x="949901" y="898037"/>
                        <a:pt x="947046" y="899466"/>
                      </a:cubicBezTo>
                      <a:cubicBezTo>
                        <a:pt x="903512" y="928032"/>
                        <a:pt x="855696" y="950886"/>
                        <a:pt x="805025" y="966597"/>
                      </a:cubicBezTo>
                      <a:cubicBezTo>
                        <a:pt x="800743" y="968026"/>
                        <a:pt x="796461" y="969454"/>
                        <a:pt x="791465" y="970882"/>
                      </a:cubicBezTo>
                      <a:cubicBezTo>
                        <a:pt x="790038" y="970882"/>
                        <a:pt x="788611" y="971597"/>
                        <a:pt x="787183" y="971597"/>
                      </a:cubicBezTo>
                      <a:cubicBezTo>
                        <a:pt x="784329" y="972311"/>
                        <a:pt x="781474" y="973739"/>
                        <a:pt x="778619" y="974453"/>
                      </a:cubicBezTo>
                      <a:cubicBezTo>
                        <a:pt x="776478" y="974453"/>
                        <a:pt x="774337" y="975167"/>
                        <a:pt x="772910" y="975882"/>
                      </a:cubicBezTo>
                      <a:cubicBezTo>
                        <a:pt x="770055" y="976596"/>
                        <a:pt x="767914" y="976596"/>
                        <a:pt x="765059" y="977310"/>
                      </a:cubicBezTo>
                      <a:cubicBezTo>
                        <a:pt x="762918" y="978024"/>
                        <a:pt x="760777" y="978738"/>
                        <a:pt x="758636" y="979452"/>
                      </a:cubicBezTo>
                      <a:cubicBezTo>
                        <a:pt x="756495" y="979452"/>
                        <a:pt x="755068" y="980167"/>
                        <a:pt x="752927" y="980167"/>
                      </a:cubicBezTo>
                      <a:cubicBezTo>
                        <a:pt x="742936" y="982309"/>
                        <a:pt x="732944" y="984452"/>
                        <a:pt x="723666" y="986594"/>
                      </a:cubicBezTo>
                      <a:cubicBezTo>
                        <a:pt x="722239" y="986594"/>
                        <a:pt x="721525" y="986594"/>
                        <a:pt x="720812" y="986594"/>
                      </a:cubicBezTo>
                      <a:cubicBezTo>
                        <a:pt x="717243" y="987308"/>
                        <a:pt x="713675" y="988022"/>
                        <a:pt x="710106" y="988737"/>
                      </a:cubicBezTo>
                      <a:cubicBezTo>
                        <a:pt x="709393" y="988737"/>
                        <a:pt x="709393" y="988737"/>
                        <a:pt x="708679" y="988737"/>
                      </a:cubicBezTo>
                      <a:cubicBezTo>
                        <a:pt x="688696" y="991593"/>
                        <a:pt x="669427" y="993736"/>
                        <a:pt x="649444" y="995164"/>
                      </a:cubicBezTo>
                      <a:cubicBezTo>
                        <a:pt x="648730" y="995164"/>
                        <a:pt x="648017" y="995164"/>
                        <a:pt x="647303" y="995164"/>
                      </a:cubicBezTo>
                      <a:cubicBezTo>
                        <a:pt x="643735" y="995164"/>
                        <a:pt x="640166" y="995164"/>
                        <a:pt x="636598" y="995878"/>
                      </a:cubicBezTo>
                      <a:cubicBezTo>
                        <a:pt x="635884" y="995878"/>
                        <a:pt x="635171" y="995878"/>
                        <a:pt x="634457" y="995878"/>
                      </a:cubicBezTo>
                      <a:cubicBezTo>
                        <a:pt x="629461" y="995878"/>
                        <a:pt x="625179" y="995878"/>
                        <a:pt x="620183" y="995878"/>
                      </a:cubicBezTo>
                      <a:cubicBezTo>
                        <a:pt x="620183" y="995878"/>
                        <a:pt x="619470" y="995878"/>
                        <a:pt x="619470" y="995878"/>
                      </a:cubicBezTo>
                      <a:cubicBezTo>
                        <a:pt x="616615" y="995878"/>
                        <a:pt x="613760" y="995878"/>
                        <a:pt x="611619" y="995878"/>
                      </a:cubicBezTo>
                      <a:cubicBezTo>
                        <a:pt x="609478" y="995878"/>
                        <a:pt x="607337" y="995878"/>
                        <a:pt x="605196" y="995878"/>
                      </a:cubicBezTo>
                      <a:cubicBezTo>
                        <a:pt x="603055" y="995878"/>
                        <a:pt x="600201" y="995878"/>
                        <a:pt x="598060" y="995878"/>
                      </a:cubicBezTo>
                      <a:cubicBezTo>
                        <a:pt x="595919" y="995878"/>
                        <a:pt x="593778" y="995878"/>
                        <a:pt x="591637" y="995878"/>
                      </a:cubicBezTo>
                      <a:cubicBezTo>
                        <a:pt x="588782" y="995878"/>
                        <a:pt x="586641" y="995878"/>
                        <a:pt x="583786" y="995164"/>
                      </a:cubicBezTo>
                      <a:cubicBezTo>
                        <a:pt x="581645" y="995164"/>
                        <a:pt x="580218" y="995164"/>
                        <a:pt x="578077" y="995164"/>
                      </a:cubicBezTo>
                      <a:cubicBezTo>
                        <a:pt x="574508" y="995164"/>
                        <a:pt x="570226" y="994450"/>
                        <a:pt x="565944" y="994450"/>
                      </a:cubicBezTo>
                      <a:cubicBezTo>
                        <a:pt x="565944" y="994450"/>
                        <a:pt x="565231" y="994450"/>
                        <a:pt x="565231" y="994450"/>
                      </a:cubicBezTo>
                      <a:cubicBezTo>
                        <a:pt x="565231" y="994450"/>
                        <a:pt x="565231" y="994450"/>
                        <a:pt x="484585" y="988737"/>
                      </a:cubicBezTo>
                      <a:cubicBezTo>
                        <a:pt x="484585" y="988737"/>
                        <a:pt x="484585" y="988737"/>
                        <a:pt x="416073" y="983737"/>
                      </a:cubicBezTo>
                      <a:cubicBezTo>
                        <a:pt x="414645" y="983737"/>
                        <a:pt x="412504" y="983737"/>
                        <a:pt x="410363" y="983737"/>
                      </a:cubicBezTo>
                      <a:cubicBezTo>
                        <a:pt x="409649" y="983737"/>
                        <a:pt x="408222" y="983737"/>
                        <a:pt x="406795" y="983737"/>
                      </a:cubicBezTo>
                      <a:cubicBezTo>
                        <a:pt x="401799" y="983737"/>
                        <a:pt x="397517" y="984452"/>
                        <a:pt x="392521" y="985166"/>
                      </a:cubicBezTo>
                      <a:cubicBezTo>
                        <a:pt x="391094" y="985880"/>
                        <a:pt x="389667" y="985880"/>
                        <a:pt x="388239" y="985880"/>
                      </a:cubicBezTo>
                      <a:cubicBezTo>
                        <a:pt x="388239" y="986594"/>
                        <a:pt x="388239" y="986594"/>
                        <a:pt x="388239" y="986594"/>
                      </a:cubicBezTo>
                      <a:cubicBezTo>
                        <a:pt x="386812" y="986594"/>
                        <a:pt x="385385" y="987308"/>
                        <a:pt x="383957" y="987308"/>
                      </a:cubicBezTo>
                      <a:cubicBezTo>
                        <a:pt x="383957" y="987308"/>
                        <a:pt x="383957" y="987308"/>
                        <a:pt x="383244" y="988022"/>
                      </a:cubicBezTo>
                      <a:cubicBezTo>
                        <a:pt x="381816" y="988022"/>
                        <a:pt x="380389" y="988737"/>
                        <a:pt x="378961" y="989451"/>
                      </a:cubicBezTo>
                      <a:cubicBezTo>
                        <a:pt x="378961" y="989451"/>
                        <a:pt x="378961" y="989451"/>
                        <a:pt x="21410" y="1127999"/>
                      </a:cubicBezTo>
                      <a:cubicBezTo>
                        <a:pt x="19983" y="1128713"/>
                        <a:pt x="17842" y="1128713"/>
                        <a:pt x="15701" y="1128713"/>
                      </a:cubicBezTo>
                      <a:cubicBezTo>
                        <a:pt x="12846" y="1128713"/>
                        <a:pt x="9992" y="1127999"/>
                        <a:pt x="7137" y="1125856"/>
                      </a:cubicBezTo>
                      <a:cubicBezTo>
                        <a:pt x="2855" y="1123000"/>
                        <a:pt x="0" y="1118001"/>
                        <a:pt x="0" y="1113001"/>
                      </a:cubicBezTo>
                      <a:cubicBezTo>
                        <a:pt x="0" y="1113001"/>
                        <a:pt x="0" y="1113001"/>
                        <a:pt x="0" y="796626"/>
                      </a:cubicBezTo>
                      <a:cubicBezTo>
                        <a:pt x="0" y="790913"/>
                        <a:pt x="3569" y="785913"/>
                        <a:pt x="7851" y="783057"/>
                      </a:cubicBezTo>
                      <a:cubicBezTo>
                        <a:pt x="7851" y="783057"/>
                        <a:pt x="7851" y="783057"/>
                        <a:pt x="309735" y="611657"/>
                      </a:cubicBezTo>
                      <a:cubicBezTo>
                        <a:pt x="311162" y="610228"/>
                        <a:pt x="313303" y="609514"/>
                        <a:pt x="315444" y="608800"/>
                      </a:cubicBezTo>
                      <a:cubicBezTo>
                        <a:pt x="316158" y="608086"/>
                        <a:pt x="316872" y="608086"/>
                        <a:pt x="317585" y="607372"/>
                      </a:cubicBezTo>
                      <a:cubicBezTo>
                        <a:pt x="318299" y="606658"/>
                        <a:pt x="319726" y="605943"/>
                        <a:pt x="320440" y="605943"/>
                      </a:cubicBezTo>
                      <a:cubicBezTo>
                        <a:pt x="321868" y="605229"/>
                        <a:pt x="322581" y="604515"/>
                        <a:pt x="324009" y="604515"/>
                      </a:cubicBezTo>
                      <a:cubicBezTo>
                        <a:pt x="324722" y="603801"/>
                        <a:pt x="325436" y="603801"/>
                        <a:pt x="326150" y="603087"/>
                      </a:cubicBezTo>
                      <a:cubicBezTo>
                        <a:pt x="327577" y="602373"/>
                        <a:pt x="329004" y="602373"/>
                        <a:pt x="329718" y="601658"/>
                      </a:cubicBezTo>
                      <a:cubicBezTo>
                        <a:pt x="330432" y="601658"/>
                        <a:pt x="331145" y="600944"/>
                        <a:pt x="331859" y="600944"/>
                      </a:cubicBezTo>
                      <a:cubicBezTo>
                        <a:pt x="333286" y="600230"/>
                        <a:pt x="334714" y="599516"/>
                        <a:pt x="336141" y="599516"/>
                      </a:cubicBezTo>
                      <a:cubicBezTo>
                        <a:pt x="336141" y="598802"/>
                        <a:pt x="336855" y="598802"/>
                        <a:pt x="337568" y="598802"/>
                      </a:cubicBezTo>
                      <a:cubicBezTo>
                        <a:pt x="338996" y="598088"/>
                        <a:pt x="340423" y="597373"/>
                        <a:pt x="341850" y="597373"/>
                      </a:cubicBezTo>
                      <a:cubicBezTo>
                        <a:pt x="342564" y="596659"/>
                        <a:pt x="342564" y="596659"/>
                        <a:pt x="342564" y="596659"/>
                      </a:cubicBezTo>
                      <a:cubicBezTo>
                        <a:pt x="344705" y="595945"/>
                        <a:pt x="346132" y="595945"/>
                        <a:pt x="347560" y="595231"/>
                      </a:cubicBezTo>
                      <a:cubicBezTo>
                        <a:pt x="348273" y="595231"/>
                        <a:pt x="348273" y="595231"/>
                        <a:pt x="348273" y="595231"/>
                      </a:cubicBezTo>
                      <a:cubicBezTo>
                        <a:pt x="359692" y="591660"/>
                        <a:pt x="370397" y="589518"/>
                        <a:pt x="381816" y="588089"/>
                      </a:cubicBezTo>
                      <a:cubicBezTo>
                        <a:pt x="382530" y="588089"/>
                        <a:pt x="383244" y="588089"/>
                        <a:pt x="383244" y="588089"/>
                      </a:cubicBezTo>
                      <a:cubicBezTo>
                        <a:pt x="384671" y="588089"/>
                        <a:pt x="386098" y="588089"/>
                        <a:pt x="386812" y="588089"/>
                      </a:cubicBezTo>
                      <a:cubicBezTo>
                        <a:pt x="388239" y="588089"/>
                        <a:pt x="388953" y="588089"/>
                        <a:pt x="389667" y="587375"/>
                      </a:cubicBezTo>
                      <a:close/>
                      <a:moveTo>
                        <a:pt x="637653" y="0"/>
                      </a:moveTo>
                      <a:cubicBezTo>
                        <a:pt x="637653" y="0"/>
                        <a:pt x="637653" y="0"/>
                        <a:pt x="747520" y="0"/>
                      </a:cubicBezTo>
                      <a:cubicBezTo>
                        <a:pt x="751801" y="0"/>
                        <a:pt x="773204" y="0"/>
                        <a:pt x="783905" y="15718"/>
                      </a:cubicBezTo>
                      <a:cubicBezTo>
                        <a:pt x="786759" y="20720"/>
                        <a:pt x="788186" y="26435"/>
                        <a:pt x="788186" y="32151"/>
                      </a:cubicBezTo>
                      <a:cubicBezTo>
                        <a:pt x="861668" y="65017"/>
                        <a:pt x="858815" y="82878"/>
                        <a:pt x="857388" y="90738"/>
                      </a:cubicBezTo>
                      <a:cubicBezTo>
                        <a:pt x="855248" y="103598"/>
                        <a:pt x="833131" y="130034"/>
                        <a:pt x="791039" y="169329"/>
                      </a:cubicBezTo>
                      <a:cubicBezTo>
                        <a:pt x="791039" y="169329"/>
                        <a:pt x="791039" y="169329"/>
                        <a:pt x="790326" y="170044"/>
                      </a:cubicBezTo>
                      <a:cubicBezTo>
                        <a:pt x="788186" y="172187"/>
                        <a:pt x="783192" y="177903"/>
                        <a:pt x="783905" y="181475"/>
                      </a:cubicBezTo>
                      <a:cubicBezTo>
                        <a:pt x="783905" y="182904"/>
                        <a:pt x="785332" y="185048"/>
                        <a:pt x="787472" y="187191"/>
                      </a:cubicBezTo>
                      <a:cubicBezTo>
                        <a:pt x="790326" y="189335"/>
                        <a:pt x="1020049" y="389386"/>
                        <a:pt x="1020049" y="572291"/>
                      </a:cubicBezTo>
                      <a:cubicBezTo>
                        <a:pt x="1020762" y="573720"/>
                        <a:pt x="1020762" y="578006"/>
                        <a:pt x="1020762" y="584437"/>
                      </a:cubicBezTo>
                      <a:cubicBezTo>
                        <a:pt x="1015055" y="585151"/>
                        <a:pt x="1010061" y="586580"/>
                        <a:pt x="1005067" y="588009"/>
                      </a:cubicBezTo>
                      <a:cubicBezTo>
                        <a:pt x="999359" y="589438"/>
                        <a:pt x="994365" y="591582"/>
                        <a:pt x="989371" y="593725"/>
                      </a:cubicBezTo>
                      <a:cubicBezTo>
                        <a:pt x="989371" y="582293"/>
                        <a:pt x="989371" y="574434"/>
                        <a:pt x="989371" y="574434"/>
                      </a:cubicBezTo>
                      <a:cubicBezTo>
                        <a:pt x="989371" y="574434"/>
                        <a:pt x="989371" y="574434"/>
                        <a:pt x="988658" y="573005"/>
                      </a:cubicBezTo>
                      <a:cubicBezTo>
                        <a:pt x="988658" y="426539"/>
                        <a:pt x="814582" y="250779"/>
                        <a:pt x="767496" y="211483"/>
                      </a:cubicBezTo>
                      <a:cubicBezTo>
                        <a:pt x="755368" y="200766"/>
                        <a:pt x="752514" y="189335"/>
                        <a:pt x="752514" y="181475"/>
                      </a:cubicBezTo>
                      <a:cubicBezTo>
                        <a:pt x="751801" y="162899"/>
                        <a:pt x="766783" y="148610"/>
                        <a:pt x="769636" y="146466"/>
                      </a:cubicBezTo>
                      <a:cubicBezTo>
                        <a:pt x="791039" y="125747"/>
                        <a:pt x="816009" y="100026"/>
                        <a:pt x="824570" y="88594"/>
                      </a:cubicBezTo>
                      <a:cubicBezTo>
                        <a:pt x="816723" y="82164"/>
                        <a:pt x="798173" y="71447"/>
                        <a:pt x="778198" y="62873"/>
                      </a:cubicBezTo>
                      <a:cubicBezTo>
                        <a:pt x="761075" y="95739"/>
                        <a:pt x="752514" y="115030"/>
                        <a:pt x="752514" y="115030"/>
                      </a:cubicBezTo>
                      <a:cubicBezTo>
                        <a:pt x="749661" y="120745"/>
                        <a:pt x="743953" y="124318"/>
                        <a:pt x="738246" y="124318"/>
                      </a:cubicBezTo>
                      <a:cubicBezTo>
                        <a:pt x="736105" y="124318"/>
                        <a:pt x="733965" y="123603"/>
                        <a:pt x="731825" y="122889"/>
                      </a:cubicBezTo>
                      <a:cubicBezTo>
                        <a:pt x="726118" y="120031"/>
                        <a:pt x="722550" y="114315"/>
                        <a:pt x="722550" y="108599"/>
                      </a:cubicBezTo>
                      <a:cubicBezTo>
                        <a:pt x="722550" y="106456"/>
                        <a:pt x="723264" y="104313"/>
                        <a:pt x="723977" y="102169"/>
                      </a:cubicBezTo>
                      <a:cubicBezTo>
                        <a:pt x="723977" y="101455"/>
                        <a:pt x="733252" y="80735"/>
                        <a:pt x="751801" y="46440"/>
                      </a:cubicBezTo>
                      <a:cubicBezTo>
                        <a:pt x="752514" y="45012"/>
                        <a:pt x="752514" y="44297"/>
                        <a:pt x="753228" y="42868"/>
                      </a:cubicBezTo>
                      <a:cubicBezTo>
                        <a:pt x="756795" y="37152"/>
                        <a:pt x="756795" y="33580"/>
                        <a:pt x="756795" y="32866"/>
                      </a:cubicBezTo>
                      <a:cubicBezTo>
                        <a:pt x="755368" y="32151"/>
                        <a:pt x="751087" y="31437"/>
                        <a:pt x="748234" y="31437"/>
                      </a:cubicBezTo>
                      <a:cubicBezTo>
                        <a:pt x="748234" y="31437"/>
                        <a:pt x="748234" y="31437"/>
                        <a:pt x="747520" y="31437"/>
                      </a:cubicBezTo>
                      <a:cubicBezTo>
                        <a:pt x="747520" y="31437"/>
                        <a:pt x="747520" y="31437"/>
                        <a:pt x="637653" y="31437"/>
                      </a:cubicBezTo>
                      <a:cubicBezTo>
                        <a:pt x="636939" y="31437"/>
                        <a:pt x="636939" y="31437"/>
                        <a:pt x="636226" y="31437"/>
                      </a:cubicBezTo>
                      <a:cubicBezTo>
                        <a:pt x="634086" y="31437"/>
                        <a:pt x="629805" y="32151"/>
                        <a:pt x="628378" y="32866"/>
                      </a:cubicBezTo>
                      <a:cubicBezTo>
                        <a:pt x="628378" y="33580"/>
                        <a:pt x="628378" y="37152"/>
                        <a:pt x="631945" y="42868"/>
                      </a:cubicBezTo>
                      <a:cubicBezTo>
                        <a:pt x="632659" y="44297"/>
                        <a:pt x="632659" y="45012"/>
                        <a:pt x="633372" y="46440"/>
                      </a:cubicBezTo>
                      <a:cubicBezTo>
                        <a:pt x="651921" y="80735"/>
                        <a:pt x="661196" y="101455"/>
                        <a:pt x="661196" y="102169"/>
                      </a:cubicBezTo>
                      <a:cubicBezTo>
                        <a:pt x="661909" y="104313"/>
                        <a:pt x="662623" y="106456"/>
                        <a:pt x="662623" y="108599"/>
                      </a:cubicBezTo>
                      <a:cubicBezTo>
                        <a:pt x="662623" y="114315"/>
                        <a:pt x="659056" y="120031"/>
                        <a:pt x="653348" y="122889"/>
                      </a:cubicBezTo>
                      <a:cubicBezTo>
                        <a:pt x="645500" y="126461"/>
                        <a:pt x="636226" y="122889"/>
                        <a:pt x="632659" y="115030"/>
                      </a:cubicBezTo>
                      <a:cubicBezTo>
                        <a:pt x="632659" y="115030"/>
                        <a:pt x="624098" y="95739"/>
                        <a:pt x="606975" y="62873"/>
                      </a:cubicBezTo>
                      <a:cubicBezTo>
                        <a:pt x="587000" y="71447"/>
                        <a:pt x="568450" y="82164"/>
                        <a:pt x="560603" y="88594"/>
                      </a:cubicBezTo>
                      <a:cubicBezTo>
                        <a:pt x="569164" y="100026"/>
                        <a:pt x="594134" y="125747"/>
                        <a:pt x="615537" y="146466"/>
                      </a:cubicBezTo>
                      <a:cubicBezTo>
                        <a:pt x="618390" y="148610"/>
                        <a:pt x="633372" y="162899"/>
                        <a:pt x="632659" y="181475"/>
                      </a:cubicBezTo>
                      <a:cubicBezTo>
                        <a:pt x="632659" y="189335"/>
                        <a:pt x="629805" y="200766"/>
                        <a:pt x="617677" y="211483"/>
                      </a:cubicBezTo>
                      <a:cubicBezTo>
                        <a:pt x="572731" y="249350"/>
                        <a:pt x="408643" y="413678"/>
                        <a:pt x="397228" y="556572"/>
                      </a:cubicBezTo>
                      <a:cubicBezTo>
                        <a:pt x="391521" y="556572"/>
                        <a:pt x="386527" y="557287"/>
                        <a:pt x="380820" y="557287"/>
                      </a:cubicBezTo>
                      <a:cubicBezTo>
                        <a:pt x="375826" y="558001"/>
                        <a:pt x="370118" y="558716"/>
                        <a:pt x="365124" y="559430"/>
                      </a:cubicBezTo>
                      <a:cubicBezTo>
                        <a:pt x="375826" y="380098"/>
                        <a:pt x="595561" y="189335"/>
                        <a:pt x="597701" y="187191"/>
                      </a:cubicBezTo>
                      <a:cubicBezTo>
                        <a:pt x="599841" y="185048"/>
                        <a:pt x="601268" y="182904"/>
                        <a:pt x="601268" y="181475"/>
                      </a:cubicBezTo>
                      <a:cubicBezTo>
                        <a:pt x="601981" y="177903"/>
                        <a:pt x="596988" y="172187"/>
                        <a:pt x="594847" y="170044"/>
                      </a:cubicBezTo>
                      <a:cubicBezTo>
                        <a:pt x="594847" y="170044"/>
                        <a:pt x="594847" y="170044"/>
                        <a:pt x="594134" y="169329"/>
                      </a:cubicBezTo>
                      <a:cubicBezTo>
                        <a:pt x="552042" y="130034"/>
                        <a:pt x="529926" y="103598"/>
                        <a:pt x="527785" y="90738"/>
                      </a:cubicBezTo>
                      <a:cubicBezTo>
                        <a:pt x="526358" y="82878"/>
                        <a:pt x="523505" y="65017"/>
                        <a:pt x="596988" y="32151"/>
                      </a:cubicBezTo>
                      <a:cubicBezTo>
                        <a:pt x="596988" y="26435"/>
                        <a:pt x="598414" y="20720"/>
                        <a:pt x="601268" y="15718"/>
                      </a:cubicBezTo>
                      <a:cubicBezTo>
                        <a:pt x="611969" y="0"/>
                        <a:pt x="633372" y="0"/>
                        <a:pt x="637653" y="0"/>
                      </a:cubicBezTo>
                      <a:close/>
                    </a:path>
                  </a:pathLst>
                </a:custGeom>
                <a:solidFill>
                  <a:schemeClr val="tx2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757" name="bcgIcons_Sale">
              <a:extLst>
                <a:ext uri="{FF2B5EF4-FFF2-40B4-BE49-F238E27FC236}">
                  <a16:creationId xmlns:a16="http://schemas.microsoft.com/office/drawing/2014/main" id="{276420AC-86AB-4C5C-8645-8A4A5A29379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799352" y="4420685"/>
              <a:ext cx="606508" cy="607071"/>
              <a:chOff x="1682" y="0"/>
              <a:chExt cx="4316" cy="4320"/>
            </a:xfrm>
          </p:grpSpPr>
          <p:sp>
            <p:nvSpPr>
              <p:cNvPr id="758" name="AutoShape 3">
                <a:extLst>
                  <a:ext uri="{FF2B5EF4-FFF2-40B4-BE49-F238E27FC236}">
                    <a16:creationId xmlns:a16="http://schemas.microsoft.com/office/drawing/2014/main" id="{AA544710-8596-4530-A5EC-28175478261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9" name="Freeform 5">
                <a:extLst>
                  <a:ext uri="{FF2B5EF4-FFF2-40B4-BE49-F238E27FC236}">
                    <a16:creationId xmlns:a16="http://schemas.microsoft.com/office/drawing/2014/main" id="{66C8373F-1C91-488E-B7AA-1DCC845330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4" y="677"/>
                <a:ext cx="2894" cy="2966"/>
              </a:xfrm>
              <a:custGeom>
                <a:avLst/>
                <a:gdLst>
                  <a:gd name="T0" fmla="*/ 704 w 1545"/>
                  <a:gd name="T1" fmla="*/ 1582 h 1582"/>
                  <a:gd name="T2" fmla="*/ 674 w 1545"/>
                  <a:gd name="T3" fmla="*/ 1571 h 1582"/>
                  <a:gd name="T4" fmla="*/ 15 w 1545"/>
                  <a:gd name="T5" fmla="*/ 959 h 1582"/>
                  <a:gd name="T6" fmla="*/ 1 w 1545"/>
                  <a:gd name="T7" fmla="*/ 929 h 1582"/>
                  <a:gd name="T8" fmla="*/ 12 w 1545"/>
                  <a:gd name="T9" fmla="*/ 897 h 1582"/>
                  <a:gd name="T10" fmla="*/ 717 w 1545"/>
                  <a:gd name="T11" fmla="*/ 136 h 1582"/>
                  <a:gd name="T12" fmla="*/ 727 w 1545"/>
                  <a:gd name="T13" fmla="*/ 130 h 1582"/>
                  <a:gd name="T14" fmla="*/ 1136 w 1545"/>
                  <a:gd name="T15" fmla="*/ 4 h 1582"/>
                  <a:gd name="T16" fmla="*/ 1139 w 1545"/>
                  <a:gd name="T17" fmla="*/ 3 h 1582"/>
                  <a:gd name="T18" fmla="*/ 1180 w 1545"/>
                  <a:gd name="T19" fmla="*/ 13 h 1582"/>
                  <a:gd name="T20" fmla="*/ 1529 w 1545"/>
                  <a:gd name="T21" fmla="*/ 336 h 1582"/>
                  <a:gd name="T22" fmla="*/ 1542 w 1545"/>
                  <a:gd name="T23" fmla="*/ 379 h 1582"/>
                  <a:gd name="T24" fmla="*/ 1542 w 1545"/>
                  <a:gd name="T25" fmla="*/ 380 h 1582"/>
                  <a:gd name="T26" fmla="*/ 1447 w 1545"/>
                  <a:gd name="T27" fmla="*/ 797 h 1582"/>
                  <a:gd name="T28" fmla="*/ 1441 w 1545"/>
                  <a:gd name="T29" fmla="*/ 807 h 1582"/>
                  <a:gd name="T30" fmla="*/ 736 w 1545"/>
                  <a:gd name="T31" fmla="*/ 1568 h 1582"/>
                  <a:gd name="T32" fmla="*/ 706 w 1545"/>
                  <a:gd name="T33" fmla="*/ 1582 h 1582"/>
                  <a:gd name="T34" fmla="*/ 704 w 1545"/>
                  <a:gd name="T35" fmla="*/ 1582 h 1582"/>
                  <a:gd name="T36" fmla="*/ 704 w 1545"/>
                  <a:gd name="T37" fmla="*/ 1538 h 1582"/>
                  <a:gd name="T38" fmla="*/ 704 w 1545"/>
                  <a:gd name="T39" fmla="*/ 1538 h 1582"/>
                  <a:gd name="T40" fmla="*/ 704 w 1545"/>
                  <a:gd name="T41" fmla="*/ 1538 h 1582"/>
                  <a:gd name="T42" fmla="*/ 746 w 1545"/>
                  <a:gd name="T43" fmla="*/ 171 h 1582"/>
                  <a:gd name="T44" fmla="*/ 45 w 1545"/>
                  <a:gd name="T45" fmla="*/ 927 h 1582"/>
                  <a:gd name="T46" fmla="*/ 704 w 1545"/>
                  <a:gd name="T47" fmla="*/ 1538 h 1582"/>
                  <a:gd name="T48" fmla="*/ 1405 w 1545"/>
                  <a:gd name="T49" fmla="*/ 782 h 1582"/>
                  <a:gd name="T50" fmla="*/ 1499 w 1545"/>
                  <a:gd name="T51" fmla="*/ 371 h 1582"/>
                  <a:gd name="T52" fmla="*/ 1499 w 1545"/>
                  <a:gd name="T53" fmla="*/ 369 h 1582"/>
                  <a:gd name="T54" fmla="*/ 1151 w 1545"/>
                  <a:gd name="T55" fmla="*/ 46 h 1582"/>
                  <a:gd name="T56" fmla="*/ 1147 w 1545"/>
                  <a:gd name="T57" fmla="*/ 46 h 1582"/>
                  <a:gd name="T58" fmla="*/ 746 w 1545"/>
                  <a:gd name="T59" fmla="*/ 171 h 15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545" h="1582">
                    <a:moveTo>
                      <a:pt x="704" y="1582"/>
                    </a:moveTo>
                    <a:cubicBezTo>
                      <a:pt x="693" y="1582"/>
                      <a:pt x="682" y="1578"/>
                      <a:pt x="674" y="1571"/>
                    </a:cubicBezTo>
                    <a:cubicBezTo>
                      <a:pt x="15" y="959"/>
                      <a:pt x="15" y="959"/>
                      <a:pt x="15" y="959"/>
                    </a:cubicBezTo>
                    <a:cubicBezTo>
                      <a:pt x="6" y="951"/>
                      <a:pt x="1" y="941"/>
                      <a:pt x="1" y="929"/>
                    </a:cubicBezTo>
                    <a:cubicBezTo>
                      <a:pt x="0" y="917"/>
                      <a:pt x="4" y="906"/>
                      <a:pt x="12" y="897"/>
                    </a:cubicBezTo>
                    <a:cubicBezTo>
                      <a:pt x="717" y="136"/>
                      <a:pt x="717" y="136"/>
                      <a:pt x="717" y="136"/>
                    </a:cubicBezTo>
                    <a:cubicBezTo>
                      <a:pt x="720" y="134"/>
                      <a:pt x="723" y="132"/>
                      <a:pt x="727" y="130"/>
                    </a:cubicBezTo>
                    <a:cubicBezTo>
                      <a:pt x="1136" y="4"/>
                      <a:pt x="1136" y="4"/>
                      <a:pt x="1136" y="4"/>
                    </a:cubicBezTo>
                    <a:cubicBezTo>
                      <a:pt x="1137" y="3"/>
                      <a:pt x="1138" y="3"/>
                      <a:pt x="1139" y="3"/>
                    </a:cubicBezTo>
                    <a:cubicBezTo>
                      <a:pt x="1150" y="1"/>
                      <a:pt x="1166" y="0"/>
                      <a:pt x="1180" y="13"/>
                    </a:cubicBezTo>
                    <a:cubicBezTo>
                      <a:pt x="1529" y="336"/>
                      <a:pt x="1529" y="336"/>
                      <a:pt x="1529" y="336"/>
                    </a:cubicBezTo>
                    <a:cubicBezTo>
                      <a:pt x="1540" y="347"/>
                      <a:pt x="1545" y="363"/>
                      <a:pt x="1542" y="379"/>
                    </a:cubicBezTo>
                    <a:cubicBezTo>
                      <a:pt x="1542" y="380"/>
                      <a:pt x="1542" y="380"/>
                      <a:pt x="1542" y="380"/>
                    </a:cubicBezTo>
                    <a:cubicBezTo>
                      <a:pt x="1447" y="797"/>
                      <a:pt x="1447" y="797"/>
                      <a:pt x="1447" y="797"/>
                    </a:cubicBezTo>
                    <a:cubicBezTo>
                      <a:pt x="1446" y="801"/>
                      <a:pt x="1444" y="805"/>
                      <a:pt x="1441" y="807"/>
                    </a:cubicBezTo>
                    <a:cubicBezTo>
                      <a:pt x="736" y="1568"/>
                      <a:pt x="736" y="1568"/>
                      <a:pt x="736" y="1568"/>
                    </a:cubicBezTo>
                    <a:cubicBezTo>
                      <a:pt x="728" y="1577"/>
                      <a:pt x="718" y="1582"/>
                      <a:pt x="706" y="1582"/>
                    </a:cubicBezTo>
                    <a:cubicBezTo>
                      <a:pt x="705" y="1582"/>
                      <a:pt x="705" y="1582"/>
                      <a:pt x="704" y="1582"/>
                    </a:cubicBezTo>
                    <a:close/>
                    <a:moveTo>
                      <a:pt x="704" y="1538"/>
                    </a:moveTo>
                    <a:cubicBezTo>
                      <a:pt x="704" y="1538"/>
                      <a:pt x="704" y="1538"/>
                      <a:pt x="704" y="1538"/>
                    </a:cubicBezTo>
                    <a:cubicBezTo>
                      <a:pt x="704" y="1538"/>
                      <a:pt x="704" y="1538"/>
                      <a:pt x="704" y="1538"/>
                    </a:cubicBezTo>
                    <a:close/>
                    <a:moveTo>
                      <a:pt x="746" y="171"/>
                    </a:moveTo>
                    <a:cubicBezTo>
                      <a:pt x="45" y="927"/>
                      <a:pt x="45" y="927"/>
                      <a:pt x="45" y="927"/>
                    </a:cubicBezTo>
                    <a:cubicBezTo>
                      <a:pt x="704" y="1538"/>
                      <a:pt x="704" y="1538"/>
                      <a:pt x="704" y="1538"/>
                    </a:cubicBezTo>
                    <a:cubicBezTo>
                      <a:pt x="1405" y="782"/>
                      <a:pt x="1405" y="782"/>
                      <a:pt x="1405" y="782"/>
                    </a:cubicBezTo>
                    <a:cubicBezTo>
                      <a:pt x="1499" y="371"/>
                      <a:pt x="1499" y="371"/>
                      <a:pt x="1499" y="371"/>
                    </a:cubicBezTo>
                    <a:cubicBezTo>
                      <a:pt x="1499" y="370"/>
                      <a:pt x="1499" y="369"/>
                      <a:pt x="1499" y="369"/>
                    </a:cubicBezTo>
                    <a:cubicBezTo>
                      <a:pt x="1151" y="46"/>
                      <a:pt x="1151" y="46"/>
                      <a:pt x="1151" y="46"/>
                    </a:cubicBezTo>
                    <a:cubicBezTo>
                      <a:pt x="1150" y="46"/>
                      <a:pt x="1149" y="46"/>
                      <a:pt x="1147" y="46"/>
                    </a:cubicBezTo>
                    <a:lnTo>
                      <a:pt x="746" y="171"/>
                    </a:lnTo>
                    <a:close/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0" name="Freeform 6">
                <a:extLst>
                  <a:ext uri="{FF2B5EF4-FFF2-40B4-BE49-F238E27FC236}">
                    <a16:creationId xmlns:a16="http://schemas.microsoft.com/office/drawing/2014/main" id="{3E3A3B16-EA54-4B90-A9E3-E87BB9FB28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89" y="849"/>
                <a:ext cx="2527" cy="2601"/>
              </a:xfrm>
              <a:custGeom>
                <a:avLst/>
                <a:gdLst>
                  <a:gd name="T0" fmla="*/ 524 w 1349"/>
                  <a:gd name="T1" fmla="*/ 640 h 1387"/>
                  <a:gd name="T2" fmla="*/ 520 w 1349"/>
                  <a:gd name="T3" fmla="*/ 541 h 1387"/>
                  <a:gd name="T4" fmla="*/ 571 w 1349"/>
                  <a:gd name="T5" fmla="*/ 519 h 1387"/>
                  <a:gd name="T6" fmla="*/ 619 w 1349"/>
                  <a:gd name="T7" fmla="*/ 537 h 1387"/>
                  <a:gd name="T8" fmla="*/ 641 w 1349"/>
                  <a:gd name="T9" fmla="*/ 586 h 1387"/>
                  <a:gd name="T10" fmla="*/ 622 w 1349"/>
                  <a:gd name="T11" fmla="*/ 636 h 1387"/>
                  <a:gd name="T12" fmla="*/ 524 w 1349"/>
                  <a:gd name="T13" fmla="*/ 640 h 1387"/>
                  <a:gd name="T14" fmla="*/ 589 w 1349"/>
                  <a:gd name="T15" fmla="*/ 955 h 1387"/>
                  <a:gd name="T16" fmla="*/ 537 w 1349"/>
                  <a:gd name="T17" fmla="*/ 977 h 1387"/>
                  <a:gd name="T18" fmla="*/ 519 w 1349"/>
                  <a:gd name="T19" fmla="*/ 1028 h 1387"/>
                  <a:gd name="T20" fmla="*/ 541 w 1349"/>
                  <a:gd name="T21" fmla="*/ 1076 h 1387"/>
                  <a:gd name="T22" fmla="*/ 640 w 1349"/>
                  <a:gd name="T23" fmla="*/ 1072 h 1387"/>
                  <a:gd name="T24" fmla="*/ 636 w 1349"/>
                  <a:gd name="T25" fmla="*/ 974 h 1387"/>
                  <a:gd name="T26" fmla="*/ 589 w 1349"/>
                  <a:gd name="T27" fmla="*/ 955 h 1387"/>
                  <a:gd name="T28" fmla="*/ 1349 w 1349"/>
                  <a:gd name="T29" fmla="*/ 292 h 1387"/>
                  <a:gd name="T30" fmla="*/ 1263 w 1349"/>
                  <a:gd name="T31" fmla="*/ 669 h 1387"/>
                  <a:gd name="T32" fmla="*/ 598 w 1349"/>
                  <a:gd name="T33" fmla="*/ 1387 h 1387"/>
                  <a:gd name="T34" fmla="*/ 0 w 1349"/>
                  <a:gd name="T35" fmla="*/ 833 h 1387"/>
                  <a:gd name="T36" fmla="*/ 665 w 1349"/>
                  <a:gd name="T37" fmla="*/ 115 h 1387"/>
                  <a:gd name="T38" fmla="*/ 1035 w 1349"/>
                  <a:gd name="T39" fmla="*/ 0 h 1387"/>
                  <a:gd name="T40" fmla="*/ 1349 w 1349"/>
                  <a:gd name="T41" fmla="*/ 292 h 1387"/>
                  <a:gd name="T42" fmla="*/ 494 w 1349"/>
                  <a:gd name="T43" fmla="*/ 672 h 1387"/>
                  <a:gd name="T44" fmla="*/ 571 w 1349"/>
                  <a:gd name="T45" fmla="*/ 703 h 1387"/>
                  <a:gd name="T46" fmla="*/ 655 w 1349"/>
                  <a:gd name="T47" fmla="*/ 666 h 1387"/>
                  <a:gd name="T48" fmla="*/ 685 w 1349"/>
                  <a:gd name="T49" fmla="*/ 584 h 1387"/>
                  <a:gd name="T50" fmla="*/ 649 w 1349"/>
                  <a:gd name="T51" fmla="*/ 505 h 1387"/>
                  <a:gd name="T52" fmla="*/ 567 w 1349"/>
                  <a:gd name="T53" fmla="*/ 475 h 1387"/>
                  <a:gd name="T54" fmla="*/ 488 w 1349"/>
                  <a:gd name="T55" fmla="*/ 511 h 1387"/>
                  <a:gd name="T56" fmla="*/ 494 w 1349"/>
                  <a:gd name="T57" fmla="*/ 672 h 1387"/>
                  <a:gd name="T58" fmla="*/ 666 w 1349"/>
                  <a:gd name="T59" fmla="*/ 941 h 1387"/>
                  <a:gd name="T60" fmla="*/ 505 w 1349"/>
                  <a:gd name="T61" fmla="*/ 947 h 1387"/>
                  <a:gd name="T62" fmla="*/ 475 w 1349"/>
                  <a:gd name="T63" fmla="*/ 1029 h 1387"/>
                  <a:gd name="T64" fmla="*/ 511 w 1349"/>
                  <a:gd name="T65" fmla="*/ 1108 h 1387"/>
                  <a:gd name="T66" fmla="*/ 589 w 1349"/>
                  <a:gd name="T67" fmla="*/ 1139 h 1387"/>
                  <a:gd name="T68" fmla="*/ 593 w 1349"/>
                  <a:gd name="T69" fmla="*/ 1139 h 1387"/>
                  <a:gd name="T70" fmla="*/ 672 w 1349"/>
                  <a:gd name="T71" fmla="*/ 1102 h 1387"/>
                  <a:gd name="T72" fmla="*/ 666 w 1349"/>
                  <a:gd name="T73" fmla="*/ 941 h 1387"/>
                  <a:gd name="T74" fmla="*/ 945 w 1349"/>
                  <a:gd name="T75" fmla="*/ 766 h 1387"/>
                  <a:gd name="T76" fmla="*/ 921 w 1349"/>
                  <a:gd name="T77" fmla="*/ 746 h 1387"/>
                  <a:gd name="T78" fmla="*/ 248 w 1349"/>
                  <a:gd name="T79" fmla="*/ 809 h 1387"/>
                  <a:gd name="T80" fmla="*/ 228 w 1349"/>
                  <a:gd name="T81" fmla="*/ 833 h 1387"/>
                  <a:gd name="T82" fmla="*/ 250 w 1349"/>
                  <a:gd name="T83" fmla="*/ 853 h 1387"/>
                  <a:gd name="T84" fmla="*/ 252 w 1349"/>
                  <a:gd name="T85" fmla="*/ 853 h 1387"/>
                  <a:gd name="T86" fmla="*/ 925 w 1349"/>
                  <a:gd name="T87" fmla="*/ 790 h 1387"/>
                  <a:gd name="T88" fmla="*/ 945 w 1349"/>
                  <a:gd name="T89" fmla="*/ 766 h 1387"/>
                  <a:gd name="T90" fmla="*/ 1137 w 1349"/>
                  <a:gd name="T91" fmla="*/ 206 h 1387"/>
                  <a:gd name="T92" fmla="*/ 1018 w 1349"/>
                  <a:gd name="T93" fmla="*/ 210 h 1387"/>
                  <a:gd name="T94" fmla="*/ 1023 w 1349"/>
                  <a:gd name="T95" fmla="*/ 329 h 1387"/>
                  <a:gd name="T96" fmla="*/ 1141 w 1349"/>
                  <a:gd name="T97" fmla="*/ 325 h 1387"/>
                  <a:gd name="T98" fmla="*/ 1137 w 1349"/>
                  <a:gd name="T99" fmla="*/ 206 h 1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349" h="1387">
                    <a:moveTo>
                      <a:pt x="524" y="640"/>
                    </a:moveTo>
                    <a:cubicBezTo>
                      <a:pt x="495" y="614"/>
                      <a:pt x="494" y="569"/>
                      <a:pt x="520" y="541"/>
                    </a:cubicBezTo>
                    <a:cubicBezTo>
                      <a:pt x="534" y="526"/>
                      <a:pt x="552" y="519"/>
                      <a:pt x="571" y="519"/>
                    </a:cubicBezTo>
                    <a:cubicBezTo>
                      <a:pt x="588" y="519"/>
                      <a:pt x="605" y="525"/>
                      <a:pt x="619" y="537"/>
                    </a:cubicBezTo>
                    <a:cubicBezTo>
                      <a:pt x="632" y="550"/>
                      <a:pt x="640" y="567"/>
                      <a:pt x="641" y="586"/>
                    </a:cubicBezTo>
                    <a:cubicBezTo>
                      <a:pt x="642" y="605"/>
                      <a:pt x="635" y="623"/>
                      <a:pt x="622" y="636"/>
                    </a:cubicBezTo>
                    <a:cubicBezTo>
                      <a:pt x="596" y="665"/>
                      <a:pt x="552" y="666"/>
                      <a:pt x="524" y="640"/>
                    </a:cubicBezTo>
                    <a:close/>
                    <a:moveTo>
                      <a:pt x="589" y="955"/>
                    </a:moveTo>
                    <a:cubicBezTo>
                      <a:pt x="570" y="955"/>
                      <a:pt x="551" y="962"/>
                      <a:pt x="537" y="977"/>
                    </a:cubicBezTo>
                    <a:cubicBezTo>
                      <a:pt x="525" y="991"/>
                      <a:pt x="518" y="1009"/>
                      <a:pt x="519" y="1028"/>
                    </a:cubicBezTo>
                    <a:cubicBezTo>
                      <a:pt x="519" y="1046"/>
                      <a:pt x="527" y="1064"/>
                      <a:pt x="541" y="1076"/>
                    </a:cubicBezTo>
                    <a:cubicBezTo>
                      <a:pt x="569" y="1102"/>
                      <a:pt x="614" y="1101"/>
                      <a:pt x="640" y="1072"/>
                    </a:cubicBezTo>
                    <a:cubicBezTo>
                      <a:pt x="666" y="1044"/>
                      <a:pt x="665" y="1000"/>
                      <a:pt x="636" y="974"/>
                    </a:cubicBezTo>
                    <a:cubicBezTo>
                      <a:pt x="623" y="961"/>
                      <a:pt x="606" y="955"/>
                      <a:pt x="589" y="955"/>
                    </a:cubicBezTo>
                    <a:close/>
                    <a:moveTo>
                      <a:pt x="1349" y="292"/>
                    </a:moveTo>
                    <a:cubicBezTo>
                      <a:pt x="1263" y="669"/>
                      <a:pt x="1263" y="669"/>
                      <a:pt x="1263" y="669"/>
                    </a:cubicBezTo>
                    <a:cubicBezTo>
                      <a:pt x="598" y="1387"/>
                      <a:pt x="598" y="1387"/>
                      <a:pt x="598" y="1387"/>
                    </a:cubicBezTo>
                    <a:cubicBezTo>
                      <a:pt x="0" y="833"/>
                      <a:pt x="0" y="833"/>
                      <a:pt x="0" y="833"/>
                    </a:cubicBezTo>
                    <a:cubicBezTo>
                      <a:pt x="665" y="115"/>
                      <a:pt x="665" y="115"/>
                      <a:pt x="665" y="115"/>
                    </a:cubicBezTo>
                    <a:cubicBezTo>
                      <a:pt x="1035" y="0"/>
                      <a:pt x="1035" y="0"/>
                      <a:pt x="1035" y="0"/>
                    </a:cubicBezTo>
                    <a:lnTo>
                      <a:pt x="1349" y="292"/>
                    </a:lnTo>
                    <a:close/>
                    <a:moveTo>
                      <a:pt x="494" y="672"/>
                    </a:moveTo>
                    <a:cubicBezTo>
                      <a:pt x="516" y="693"/>
                      <a:pt x="543" y="703"/>
                      <a:pt x="571" y="703"/>
                    </a:cubicBezTo>
                    <a:cubicBezTo>
                      <a:pt x="602" y="703"/>
                      <a:pt x="632" y="690"/>
                      <a:pt x="655" y="666"/>
                    </a:cubicBezTo>
                    <a:cubicBezTo>
                      <a:pt x="675" y="644"/>
                      <a:pt x="686" y="615"/>
                      <a:pt x="685" y="584"/>
                    </a:cubicBezTo>
                    <a:cubicBezTo>
                      <a:pt x="684" y="554"/>
                      <a:pt x="671" y="526"/>
                      <a:pt x="649" y="505"/>
                    </a:cubicBezTo>
                    <a:cubicBezTo>
                      <a:pt x="626" y="484"/>
                      <a:pt x="597" y="474"/>
                      <a:pt x="567" y="475"/>
                    </a:cubicBezTo>
                    <a:cubicBezTo>
                      <a:pt x="536" y="476"/>
                      <a:pt x="508" y="489"/>
                      <a:pt x="488" y="511"/>
                    </a:cubicBezTo>
                    <a:cubicBezTo>
                      <a:pt x="445" y="557"/>
                      <a:pt x="448" y="630"/>
                      <a:pt x="494" y="672"/>
                    </a:cubicBezTo>
                    <a:close/>
                    <a:moveTo>
                      <a:pt x="666" y="941"/>
                    </a:moveTo>
                    <a:cubicBezTo>
                      <a:pt x="620" y="899"/>
                      <a:pt x="548" y="901"/>
                      <a:pt x="505" y="947"/>
                    </a:cubicBezTo>
                    <a:cubicBezTo>
                      <a:pt x="484" y="970"/>
                      <a:pt x="474" y="999"/>
                      <a:pt x="475" y="1029"/>
                    </a:cubicBezTo>
                    <a:cubicBezTo>
                      <a:pt x="476" y="1060"/>
                      <a:pt x="489" y="1088"/>
                      <a:pt x="511" y="1108"/>
                    </a:cubicBezTo>
                    <a:cubicBezTo>
                      <a:pt x="532" y="1128"/>
                      <a:pt x="560" y="1139"/>
                      <a:pt x="589" y="1139"/>
                    </a:cubicBezTo>
                    <a:cubicBezTo>
                      <a:pt x="590" y="1139"/>
                      <a:pt x="592" y="1139"/>
                      <a:pt x="593" y="1139"/>
                    </a:cubicBezTo>
                    <a:cubicBezTo>
                      <a:pt x="623" y="1138"/>
                      <a:pt x="652" y="1125"/>
                      <a:pt x="672" y="1102"/>
                    </a:cubicBezTo>
                    <a:cubicBezTo>
                      <a:pt x="715" y="1056"/>
                      <a:pt x="712" y="984"/>
                      <a:pt x="666" y="941"/>
                    </a:cubicBezTo>
                    <a:close/>
                    <a:moveTo>
                      <a:pt x="945" y="766"/>
                    </a:moveTo>
                    <a:cubicBezTo>
                      <a:pt x="944" y="754"/>
                      <a:pt x="933" y="745"/>
                      <a:pt x="921" y="746"/>
                    </a:cubicBezTo>
                    <a:cubicBezTo>
                      <a:pt x="248" y="809"/>
                      <a:pt x="248" y="809"/>
                      <a:pt x="248" y="809"/>
                    </a:cubicBezTo>
                    <a:cubicBezTo>
                      <a:pt x="236" y="810"/>
                      <a:pt x="227" y="821"/>
                      <a:pt x="228" y="833"/>
                    </a:cubicBezTo>
                    <a:cubicBezTo>
                      <a:pt x="229" y="845"/>
                      <a:pt x="239" y="853"/>
                      <a:pt x="250" y="853"/>
                    </a:cubicBezTo>
                    <a:cubicBezTo>
                      <a:pt x="251" y="853"/>
                      <a:pt x="251" y="853"/>
                      <a:pt x="252" y="853"/>
                    </a:cubicBezTo>
                    <a:cubicBezTo>
                      <a:pt x="925" y="790"/>
                      <a:pt x="925" y="790"/>
                      <a:pt x="925" y="790"/>
                    </a:cubicBezTo>
                    <a:cubicBezTo>
                      <a:pt x="937" y="789"/>
                      <a:pt x="946" y="778"/>
                      <a:pt x="945" y="766"/>
                    </a:cubicBezTo>
                    <a:close/>
                    <a:moveTo>
                      <a:pt x="1137" y="206"/>
                    </a:moveTo>
                    <a:cubicBezTo>
                      <a:pt x="1103" y="174"/>
                      <a:pt x="1050" y="176"/>
                      <a:pt x="1018" y="210"/>
                    </a:cubicBezTo>
                    <a:cubicBezTo>
                      <a:pt x="987" y="244"/>
                      <a:pt x="989" y="298"/>
                      <a:pt x="1023" y="329"/>
                    </a:cubicBezTo>
                    <a:cubicBezTo>
                      <a:pt x="1057" y="361"/>
                      <a:pt x="1110" y="359"/>
                      <a:pt x="1141" y="325"/>
                    </a:cubicBezTo>
                    <a:cubicBezTo>
                      <a:pt x="1173" y="290"/>
                      <a:pt x="1171" y="237"/>
                      <a:pt x="1137" y="20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82" name="Group 781">
            <a:extLst>
              <a:ext uri="{FF2B5EF4-FFF2-40B4-BE49-F238E27FC236}">
                <a16:creationId xmlns:a16="http://schemas.microsoft.com/office/drawing/2014/main" id="{00FA9854-56CC-4BD3-AED9-BAEA0398735F}"/>
              </a:ext>
            </a:extLst>
          </p:cNvPr>
          <p:cNvGrpSpPr>
            <a:grpSpLocks noChangeAspect="1"/>
          </p:cNvGrpSpPr>
          <p:nvPr/>
        </p:nvGrpSpPr>
        <p:grpSpPr>
          <a:xfrm>
            <a:off x="8954447" y="5114925"/>
            <a:ext cx="869037" cy="869950"/>
            <a:chOff x="5273675" y="2606675"/>
            <a:chExt cx="1644650" cy="1644650"/>
          </a:xfrm>
        </p:grpSpPr>
        <p:sp>
          <p:nvSpPr>
            <p:cNvPr id="783" name="AutoShape 3">
              <a:extLst>
                <a:ext uri="{FF2B5EF4-FFF2-40B4-BE49-F238E27FC236}">
                  <a16:creationId xmlns:a16="http://schemas.microsoft.com/office/drawing/2014/main" id="{E5DEEE9D-F31A-414F-A366-E9382DB3E30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784" name="Group 783">
              <a:extLst>
                <a:ext uri="{FF2B5EF4-FFF2-40B4-BE49-F238E27FC236}">
                  <a16:creationId xmlns:a16="http://schemas.microsoft.com/office/drawing/2014/main" id="{0D357C0E-93C8-4AB5-9BA7-F9B871FAAAEC}"/>
                </a:ext>
              </a:extLst>
            </p:cNvPr>
            <p:cNvGrpSpPr/>
            <p:nvPr/>
          </p:nvGrpSpPr>
          <p:grpSpPr>
            <a:xfrm>
              <a:off x="5448499" y="2803525"/>
              <a:ext cx="1295201" cy="1277938"/>
              <a:chOff x="5448499" y="2803525"/>
              <a:chExt cx="1295201" cy="1277938"/>
            </a:xfrm>
          </p:grpSpPr>
          <p:sp>
            <p:nvSpPr>
              <p:cNvPr id="785" name="Freeform 10">
                <a:extLst>
                  <a:ext uri="{FF2B5EF4-FFF2-40B4-BE49-F238E27FC236}">
                    <a16:creationId xmlns:a16="http://schemas.microsoft.com/office/drawing/2014/main" id="{55511E6F-3B38-438D-BE7B-7150AEA1EF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8499" y="3108325"/>
                <a:ext cx="1295201" cy="973138"/>
              </a:xfrm>
              <a:custGeom>
                <a:avLst/>
                <a:gdLst>
                  <a:gd name="connsiteX0" fmla="*/ 848020 w 1295201"/>
                  <a:gd name="connsiteY0" fmla="*/ 647700 h 973138"/>
                  <a:gd name="connsiteX1" fmla="*/ 874350 w 1295201"/>
                  <a:gd name="connsiteY1" fmla="*/ 647700 h 973138"/>
                  <a:gd name="connsiteX2" fmla="*/ 874350 w 1295201"/>
                  <a:gd name="connsiteY2" fmla="*/ 666232 h 973138"/>
                  <a:gd name="connsiteX3" fmla="*/ 907086 w 1295201"/>
                  <a:gd name="connsiteY3" fmla="*/ 676210 h 973138"/>
                  <a:gd name="connsiteX4" fmla="*/ 897834 w 1295201"/>
                  <a:gd name="connsiteY4" fmla="*/ 701157 h 973138"/>
                  <a:gd name="connsiteX5" fmla="*/ 863676 w 1295201"/>
                  <a:gd name="connsiteY5" fmla="*/ 689753 h 973138"/>
                  <a:gd name="connsiteX6" fmla="*/ 847308 w 1295201"/>
                  <a:gd name="connsiteY6" fmla="*/ 695455 h 973138"/>
                  <a:gd name="connsiteX7" fmla="*/ 841615 w 1295201"/>
                  <a:gd name="connsiteY7" fmla="*/ 708997 h 973138"/>
                  <a:gd name="connsiteX8" fmla="*/ 873639 w 1295201"/>
                  <a:gd name="connsiteY8" fmla="*/ 738220 h 973138"/>
                  <a:gd name="connsiteX9" fmla="*/ 899258 w 1295201"/>
                  <a:gd name="connsiteY9" fmla="*/ 753188 h 973138"/>
                  <a:gd name="connsiteX10" fmla="*/ 909932 w 1295201"/>
                  <a:gd name="connsiteY10" fmla="*/ 768868 h 973138"/>
                  <a:gd name="connsiteX11" fmla="*/ 914202 w 1295201"/>
                  <a:gd name="connsiteY11" fmla="*/ 788113 h 973138"/>
                  <a:gd name="connsiteX12" fmla="*/ 904239 w 1295201"/>
                  <a:gd name="connsiteY12" fmla="*/ 815910 h 973138"/>
                  <a:gd name="connsiteX13" fmla="*/ 874350 w 1295201"/>
                  <a:gd name="connsiteY13" fmla="*/ 831591 h 973138"/>
                  <a:gd name="connsiteX14" fmla="*/ 874350 w 1295201"/>
                  <a:gd name="connsiteY14" fmla="*/ 857250 h 973138"/>
                  <a:gd name="connsiteX15" fmla="*/ 848020 w 1295201"/>
                  <a:gd name="connsiteY15" fmla="*/ 857250 h 973138"/>
                  <a:gd name="connsiteX16" fmla="*/ 848020 w 1295201"/>
                  <a:gd name="connsiteY16" fmla="*/ 833729 h 973138"/>
                  <a:gd name="connsiteX17" fmla="*/ 811014 w 1295201"/>
                  <a:gd name="connsiteY17" fmla="*/ 822325 h 973138"/>
                  <a:gd name="connsiteX18" fmla="*/ 822401 w 1295201"/>
                  <a:gd name="connsiteY18" fmla="*/ 795953 h 973138"/>
                  <a:gd name="connsiteX19" fmla="*/ 857983 w 1295201"/>
                  <a:gd name="connsiteY19" fmla="*/ 808070 h 973138"/>
                  <a:gd name="connsiteX20" fmla="*/ 884313 w 1295201"/>
                  <a:gd name="connsiteY20" fmla="*/ 790251 h 973138"/>
                  <a:gd name="connsiteX21" fmla="*/ 877197 w 1295201"/>
                  <a:gd name="connsiteY21" fmla="*/ 774571 h 973138"/>
                  <a:gd name="connsiteX22" fmla="*/ 851578 w 1295201"/>
                  <a:gd name="connsiteY22" fmla="*/ 757464 h 973138"/>
                  <a:gd name="connsiteX23" fmla="*/ 825959 w 1295201"/>
                  <a:gd name="connsiteY23" fmla="*/ 742497 h 973138"/>
                  <a:gd name="connsiteX24" fmla="*/ 815284 w 1295201"/>
                  <a:gd name="connsiteY24" fmla="*/ 728241 h 973138"/>
                  <a:gd name="connsiteX25" fmla="*/ 811726 w 1295201"/>
                  <a:gd name="connsiteY25" fmla="*/ 709710 h 973138"/>
                  <a:gd name="connsiteX26" fmla="*/ 821689 w 1295201"/>
                  <a:gd name="connsiteY26" fmla="*/ 683338 h 973138"/>
                  <a:gd name="connsiteX27" fmla="*/ 848020 w 1295201"/>
                  <a:gd name="connsiteY27" fmla="*/ 667657 h 973138"/>
                  <a:gd name="connsiteX28" fmla="*/ 848020 w 1295201"/>
                  <a:gd name="connsiteY28" fmla="*/ 647700 h 973138"/>
                  <a:gd name="connsiteX29" fmla="*/ 463351 w 1295201"/>
                  <a:gd name="connsiteY29" fmla="*/ 565150 h 973138"/>
                  <a:gd name="connsiteX30" fmla="*/ 463351 w 1295201"/>
                  <a:gd name="connsiteY30" fmla="*/ 941388 h 973138"/>
                  <a:gd name="connsiteX31" fmla="*/ 1263451 w 1295201"/>
                  <a:gd name="connsiteY31" fmla="*/ 941388 h 973138"/>
                  <a:gd name="connsiteX32" fmla="*/ 1263451 w 1295201"/>
                  <a:gd name="connsiteY32" fmla="*/ 565150 h 973138"/>
                  <a:gd name="connsiteX33" fmla="*/ 463351 w 1295201"/>
                  <a:gd name="connsiteY33" fmla="*/ 565150 h 973138"/>
                  <a:gd name="connsiteX34" fmla="*/ 447303 w 1295201"/>
                  <a:gd name="connsiteY34" fmla="*/ 533400 h 973138"/>
                  <a:gd name="connsiteX35" fmla="*/ 1279499 w 1295201"/>
                  <a:gd name="connsiteY35" fmla="*/ 533400 h 973138"/>
                  <a:gd name="connsiteX36" fmla="*/ 1295201 w 1295201"/>
                  <a:gd name="connsiteY36" fmla="*/ 548440 h 973138"/>
                  <a:gd name="connsiteX37" fmla="*/ 1295201 w 1295201"/>
                  <a:gd name="connsiteY37" fmla="*/ 957382 h 973138"/>
                  <a:gd name="connsiteX38" fmla="*/ 1279499 w 1295201"/>
                  <a:gd name="connsiteY38" fmla="*/ 973138 h 973138"/>
                  <a:gd name="connsiteX39" fmla="*/ 447303 w 1295201"/>
                  <a:gd name="connsiteY39" fmla="*/ 973138 h 973138"/>
                  <a:gd name="connsiteX40" fmla="*/ 431601 w 1295201"/>
                  <a:gd name="connsiteY40" fmla="*/ 957382 h 973138"/>
                  <a:gd name="connsiteX41" fmla="*/ 431601 w 1295201"/>
                  <a:gd name="connsiteY41" fmla="*/ 548440 h 973138"/>
                  <a:gd name="connsiteX42" fmla="*/ 447303 w 1295201"/>
                  <a:gd name="connsiteY42" fmla="*/ 533400 h 973138"/>
                  <a:gd name="connsiteX43" fmla="*/ 98208 w 1295201"/>
                  <a:gd name="connsiteY43" fmla="*/ 284163 h 973138"/>
                  <a:gd name="connsiteX44" fmla="*/ 111778 w 1295201"/>
                  <a:gd name="connsiteY44" fmla="*/ 297725 h 973138"/>
                  <a:gd name="connsiteX45" fmla="*/ 190345 w 1295201"/>
                  <a:gd name="connsiteY45" fmla="*/ 376243 h 973138"/>
                  <a:gd name="connsiteX46" fmla="*/ 193202 w 1295201"/>
                  <a:gd name="connsiteY46" fmla="*/ 401939 h 973138"/>
                  <a:gd name="connsiteX47" fmla="*/ 178203 w 1295201"/>
                  <a:gd name="connsiteY47" fmla="*/ 409077 h 973138"/>
                  <a:gd name="connsiteX48" fmla="*/ 166775 w 1295201"/>
                  <a:gd name="connsiteY48" fmla="*/ 405508 h 973138"/>
                  <a:gd name="connsiteX49" fmla="*/ 117492 w 1295201"/>
                  <a:gd name="connsiteY49" fmla="*/ 356256 h 973138"/>
                  <a:gd name="connsiteX50" fmla="*/ 117492 w 1295201"/>
                  <a:gd name="connsiteY50" fmla="*/ 735282 h 973138"/>
                  <a:gd name="connsiteX51" fmla="*/ 400331 w 1295201"/>
                  <a:gd name="connsiteY51" fmla="*/ 735282 h 973138"/>
                  <a:gd name="connsiteX52" fmla="*/ 418902 w 1295201"/>
                  <a:gd name="connsiteY52" fmla="*/ 754554 h 973138"/>
                  <a:gd name="connsiteX53" fmla="*/ 400331 w 1295201"/>
                  <a:gd name="connsiteY53" fmla="*/ 773113 h 973138"/>
                  <a:gd name="connsiteX54" fmla="*/ 79637 w 1295201"/>
                  <a:gd name="connsiteY54" fmla="*/ 773113 h 973138"/>
                  <a:gd name="connsiteX55" fmla="*/ 79637 w 1295201"/>
                  <a:gd name="connsiteY55" fmla="*/ 356256 h 973138"/>
                  <a:gd name="connsiteX56" fmla="*/ 31783 w 1295201"/>
                  <a:gd name="connsiteY56" fmla="*/ 403367 h 973138"/>
                  <a:gd name="connsiteX57" fmla="*/ 5356 w 1295201"/>
                  <a:gd name="connsiteY57" fmla="*/ 403367 h 973138"/>
                  <a:gd name="connsiteX58" fmla="*/ 5356 w 1295201"/>
                  <a:gd name="connsiteY58" fmla="*/ 376957 h 973138"/>
                  <a:gd name="connsiteX59" fmla="*/ 98208 w 1295201"/>
                  <a:gd name="connsiteY59" fmla="*/ 284163 h 973138"/>
                  <a:gd name="connsiteX60" fmla="*/ 737502 w 1295201"/>
                  <a:gd name="connsiteY60" fmla="*/ 0 h 973138"/>
                  <a:gd name="connsiteX61" fmla="*/ 1058075 w 1295201"/>
                  <a:gd name="connsiteY61" fmla="*/ 0 h 973138"/>
                  <a:gd name="connsiteX62" fmla="*/ 1058075 w 1295201"/>
                  <a:gd name="connsiteY62" fmla="*/ 412272 h 973138"/>
                  <a:gd name="connsiteX63" fmla="*/ 1104483 w 1295201"/>
                  <a:gd name="connsiteY63" fmla="*/ 366701 h 973138"/>
                  <a:gd name="connsiteX64" fmla="*/ 1130900 w 1295201"/>
                  <a:gd name="connsiteY64" fmla="*/ 367413 h 973138"/>
                  <a:gd name="connsiteX65" fmla="*/ 1130900 w 1295201"/>
                  <a:gd name="connsiteY65" fmla="*/ 393759 h 973138"/>
                  <a:gd name="connsiteX66" fmla="*/ 1055219 w 1295201"/>
                  <a:gd name="connsiteY66" fmla="*/ 467811 h 973138"/>
                  <a:gd name="connsiteX67" fmla="*/ 1049507 w 1295201"/>
                  <a:gd name="connsiteY67" fmla="*/ 473508 h 973138"/>
                  <a:gd name="connsiteX68" fmla="*/ 1038797 w 1295201"/>
                  <a:gd name="connsiteY68" fmla="*/ 484188 h 973138"/>
                  <a:gd name="connsiteX69" fmla="*/ 1025232 w 1295201"/>
                  <a:gd name="connsiteY69" fmla="*/ 470659 h 973138"/>
                  <a:gd name="connsiteX70" fmla="*/ 948123 w 1295201"/>
                  <a:gd name="connsiteY70" fmla="*/ 394471 h 973138"/>
                  <a:gd name="connsiteX71" fmla="*/ 944554 w 1295201"/>
                  <a:gd name="connsiteY71" fmla="*/ 368837 h 973138"/>
                  <a:gd name="connsiteX72" fmla="*/ 970970 w 1295201"/>
                  <a:gd name="connsiteY72" fmla="*/ 365277 h 973138"/>
                  <a:gd name="connsiteX73" fmla="*/ 1020948 w 1295201"/>
                  <a:gd name="connsiteY73" fmla="*/ 413696 h 973138"/>
                  <a:gd name="connsiteX74" fmla="*/ 1020948 w 1295201"/>
                  <a:gd name="connsiteY74" fmla="*/ 37026 h 973138"/>
                  <a:gd name="connsiteX75" fmla="*/ 737502 w 1295201"/>
                  <a:gd name="connsiteY75" fmla="*/ 37026 h 973138"/>
                  <a:gd name="connsiteX76" fmla="*/ 718939 w 1295201"/>
                  <a:gd name="connsiteY76" fmla="*/ 18513 h 973138"/>
                  <a:gd name="connsiteX77" fmla="*/ 737502 w 1295201"/>
                  <a:gd name="connsiteY77" fmla="*/ 0 h 973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1295201" h="973138">
                    <a:moveTo>
                      <a:pt x="848020" y="647700"/>
                    </a:moveTo>
                    <a:cubicBezTo>
                      <a:pt x="874350" y="647700"/>
                      <a:pt x="874350" y="647700"/>
                      <a:pt x="874350" y="647700"/>
                    </a:cubicBezTo>
                    <a:cubicBezTo>
                      <a:pt x="874350" y="666232"/>
                      <a:pt x="874350" y="666232"/>
                      <a:pt x="874350" y="666232"/>
                    </a:cubicBezTo>
                    <a:cubicBezTo>
                      <a:pt x="889295" y="667657"/>
                      <a:pt x="899969" y="671221"/>
                      <a:pt x="907086" y="676210"/>
                    </a:cubicBezTo>
                    <a:cubicBezTo>
                      <a:pt x="897834" y="701157"/>
                      <a:pt x="897834" y="701157"/>
                      <a:pt x="897834" y="701157"/>
                    </a:cubicBezTo>
                    <a:cubicBezTo>
                      <a:pt x="886448" y="694029"/>
                      <a:pt x="875062" y="689753"/>
                      <a:pt x="863676" y="689753"/>
                    </a:cubicBezTo>
                    <a:cubicBezTo>
                      <a:pt x="856559" y="689753"/>
                      <a:pt x="851578" y="691891"/>
                      <a:pt x="847308" y="695455"/>
                    </a:cubicBezTo>
                    <a:cubicBezTo>
                      <a:pt x="843750" y="699018"/>
                      <a:pt x="841615" y="704008"/>
                      <a:pt x="841615" y="708997"/>
                    </a:cubicBezTo>
                    <a:cubicBezTo>
                      <a:pt x="841615" y="718976"/>
                      <a:pt x="852289" y="728241"/>
                      <a:pt x="873639" y="738220"/>
                    </a:cubicBezTo>
                    <a:cubicBezTo>
                      <a:pt x="885737" y="743209"/>
                      <a:pt x="894276" y="748199"/>
                      <a:pt x="899258" y="753188"/>
                    </a:cubicBezTo>
                    <a:cubicBezTo>
                      <a:pt x="904239" y="757464"/>
                      <a:pt x="907086" y="763166"/>
                      <a:pt x="909932" y="768868"/>
                    </a:cubicBezTo>
                    <a:cubicBezTo>
                      <a:pt x="912779" y="775283"/>
                      <a:pt x="914202" y="780985"/>
                      <a:pt x="914202" y="788113"/>
                    </a:cubicBezTo>
                    <a:cubicBezTo>
                      <a:pt x="914202" y="798804"/>
                      <a:pt x="910644" y="808070"/>
                      <a:pt x="904239" y="815910"/>
                    </a:cubicBezTo>
                    <a:cubicBezTo>
                      <a:pt x="897123" y="823038"/>
                      <a:pt x="887160" y="828740"/>
                      <a:pt x="874350" y="831591"/>
                    </a:cubicBezTo>
                    <a:cubicBezTo>
                      <a:pt x="874350" y="857250"/>
                      <a:pt x="874350" y="857250"/>
                      <a:pt x="874350" y="857250"/>
                    </a:cubicBezTo>
                    <a:cubicBezTo>
                      <a:pt x="848020" y="857250"/>
                      <a:pt x="848020" y="857250"/>
                      <a:pt x="848020" y="857250"/>
                    </a:cubicBezTo>
                    <a:cubicBezTo>
                      <a:pt x="848020" y="833729"/>
                      <a:pt x="848020" y="833729"/>
                      <a:pt x="848020" y="833729"/>
                    </a:cubicBezTo>
                    <a:cubicBezTo>
                      <a:pt x="835210" y="832304"/>
                      <a:pt x="822401" y="828740"/>
                      <a:pt x="811014" y="822325"/>
                    </a:cubicBezTo>
                    <a:cubicBezTo>
                      <a:pt x="822401" y="795953"/>
                      <a:pt x="822401" y="795953"/>
                      <a:pt x="822401" y="795953"/>
                    </a:cubicBezTo>
                    <a:cubicBezTo>
                      <a:pt x="834498" y="804506"/>
                      <a:pt x="845885" y="808070"/>
                      <a:pt x="857983" y="808070"/>
                    </a:cubicBezTo>
                    <a:cubicBezTo>
                      <a:pt x="875062" y="808070"/>
                      <a:pt x="884313" y="802368"/>
                      <a:pt x="884313" y="790251"/>
                    </a:cubicBezTo>
                    <a:cubicBezTo>
                      <a:pt x="884313" y="784549"/>
                      <a:pt x="882178" y="778847"/>
                      <a:pt x="877197" y="774571"/>
                    </a:cubicBezTo>
                    <a:cubicBezTo>
                      <a:pt x="872927" y="769581"/>
                      <a:pt x="864387" y="763879"/>
                      <a:pt x="851578" y="757464"/>
                    </a:cubicBezTo>
                    <a:cubicBezTo>
                      <a:pt x="838768" y="751050"/>
                      <a:pt x="830229" y="746060"/>
                      <a:pt x="825959" y="742497"/>
                    </a:cubicBezTo>
                    <a:cubicBezTo>
                      <a:pt x="820977" y="738220"/>
                      <a:pt x="817419" y="733231"/>
                      <a:pt x="815284" y="728241"/>
                    </a:cubicBezTo>
                    <a:cubicBezTo>
                      <a:pt x="812438" y="722539"/>
                      <a:pt x="811726" y="716125"/>
                      <a:pt x="811726" y="709710"/>
                    </a:cubicBezTo>
                    <a:cubicBezTo>
                      <a:pt x="811726" y="699018"/>
                      <a:pt x="814572" y="690465"/>
                      <a:pt x="821689" y="683338"/>
                    </a:cubicBezTo>
                    <a:cubicBezTo>
                      <a:pt x="828094" y="675498"/>
                      <a:pt x="836633" y="669796"/>
                      <a:pt x="848020" y="667657"/>
                    </a:cubicBezTo>
                    <a:cubicBezTo>
                      <a:pt x="848020" y="647700"/>
                      <a:pt x="848020" y="647700"/>
                      <a:pt x="848020" y="647700"/>
                    </a:cubicBezTo>
                    <a:close/>
                    <a:moveTo>
                      <a:pt x="463351" y="565150"/>
                    </a:moveTo>
                    <a:cubicBezTo>
                      <a:pt x="463351" y="565150"/>
                      <a:pt x="463351" y="565150"/>
                      <a:pt x="463351" y="941388"/>
                    </a:cubicBezTo>
                    <a:cubicBezTo>
                      <a:pt x="463351" y="941388"/>
                      <a:pt x="463351" y="941388"/>
                      <a:pt x="1263451" y="941388"/>
                    </a:cubicBezTo>
                    <a:cubicBezTo>
                      <a:pt x="1263451" y="941388"/>
                      <a:pt x="1263451" y="941388"/>
                      <a:pt x="1263451" y="565150"/>
                    </a:cubicBezTo>
                    <a:cubicBezTo>
                      <a:pt x="1263451" y="565150"/>
                      <a:pt x="1263451" y="565150"/>
                      <a:pt x="463351" y="565150"/>
                    </a:cubicBezTo>
                    <a:close/>
                    <a:moveTo>
                      <a:pt x="447303" y="533400"/>
                    </a:moveTo>
                    <a:cubicBezTo>
                      <a:pt x="1279499" y="533400"/>
                      <a:pt x="1279499" y="533400"/>
                      <a:pt x="1279499" y="533400"/>
                    </a:cubicBezTo>
                    <a:cubicBezTo>
                      <a:pt x="1288064" y="533400"/>
                      <a:pt x="1295201" y="539846"/>
                      <a:pt x="1295201" y="548440"/>
                    </a:cubicBezTo>
                    <a:cubicBezTo>
                      <a:pt x="1295201" y="957382"/>
                      <a:pt x="1295201" y="957382"/>
                      <a:pt x="1295201" y="957382"/>
                    </a:cubicBezTo>
                    <a:cubicBezTo>
                      <a:pt x="1295201" y="965976"/>
                      <a:pt x="1288064" y="973138"/>
                      <a:pt x="1279499" y="973138"/>
                    </a:cubicBezTo>
                    <a:cubicBezTo>
                      <a:pt x="447303" y="973138"/>
                      <a:pt x="447303" y="973138"/>
                      <a:pt x="447303" y="973138"/>
                    </a:cubicBezTo>
                    <a:cubicBezTo>
                      <a:pt x="438738" y="973138"/>
                      <a:pt x="431601" y="965976"/>
                      <a:pt x="431601" y="957382"/>
                    </a:cubicBezTo>
                    <a:cubicBezTo>
                      <a:pt x="431601" y="548440"/>
                      <a:pt x="431601" y="548440"/>
                      <a:pt x="431601" y="548440"/>
                    </a:cubicBezTo>
                    <a:cubicBezTo>
                      <a:pt x="431601" y="539846"/>
                      <a:pt x="438738" y="533400"/>
                      <a:pt x="447303" y="533400"/>
                    </a:cubicBezTo>
                    <a:close/>
                    <a:moveTo>
                      <a:pt x="98208" y="284163"/>
                    </a:moveTo>
                    <a:cubicBezTo>
                      <a:pt x="98208" y="284163"/>
                      <a:pt x="98208" y="284163"/>
                      <a:pt x="111778" y="297725"/>
                    </a:cubicBezTo>
                    <a:cubicBezTo>
                      <a:pt x="139633" y="325563"/>
                      <a:pt x="184631" y="371246"/>
                      <a:pt x="190345" y="376243"/>
                    </a:cubicBezTo>
                    <a:cubicBezTo>
                      <a:pt x="197487" y="382667"/>
                      <a:pt x="198916" y="393374"/>
                      <a:pt x="193202" y="401939"/>
                    </a:cubicBezTo>
                    <a:cubicBezTo>
                      <a:pt x="189630" y="406222"/>
                      <a:pt x="183916" y="409077"/>
                      <a:pt x="178203" y="409077"/>
                    </a:cubicBezTo>
                    <a:cubicBezTo>
                      <a:pt x="173917" y="409077"/>
                      <a:pt x="170346" y="407650"/>
                      <a:pt x="166775" y="405508"/>
                    </a:cubicBezTo>
                    <a:cubicBezTo>
                      <a:pt x="165346" y="404795"/>
                      <a:pt x="163203" y="402653"/>
                      <a:pt x="117492" y="356256"/>
                    </a:cubicBezTo>
                    <a:cubicBezTo>
                      <a:pt x="117492" y="356256"/>
                      <a:pt x="117492" y="356256"/>
                      <a:pt x="117492" y="735282"/>
                    </a:cubicBezTo>
                    <a:cubicBezTo>
                      <a:pt x="117492" y="735282"/>
                      <a:pt x="117492" y="735282"/>
                      <a:pt x="400331" y="735282"/>
                    </a:cubicBezTo>
                    <a:cubicBezTo>
                      <a:pt x="411045" y="735282"/>
                      <a:pt x="418902" y="743848"/>
                      <a:pt x="418902" y="754554"/>
                    </a:cubicBezTo>
                    <a:cubicBezTo>
                      <a:pt x="418902" y="764548"/>
                      <a:pt x="411045" y="773113"/>
                      <a:pt x="400331" y="773113"/>
                    </a:cubicBezTo>
                    <a:cubicBezTo>
                      <a:pt x="400331" y="773113"/>
                      <a:pt x="400331" y="773113"/>
                      <a:pt x="79637" y="773113"/>
                    </a:cubicBezTo>
                    <a:cubicBezTo>
                      <a:pt x="79637" y="773113"/>
                      <a:pt x="79637" y="773113"/>
                      <a:pt x="79637" y="356256"/>
                    </a:cubicBezTo>
                    <a:cubicBezTo>
                      <a:pt x="79637" y="356256"/>
                      <a:pt x="79637" y="356256"/>
                      <a:pt x="31783" y="403367"/>
                    </a:cubicBezTo>
                    <a:cubicBezTo>
                      <a:pt x="24641" y="411219"/>
                      <a:pt x="12499" y="411219"/>
                      <a:pt x="5356" y="403367"/>
                    </a:cubicBezTo>
                    <a:cubicBezTo>
                      <a:pt x="-1786" y="396229"/>
                      <a:pt x="-1786" y="384095"/>
                      <a:pt x="5356" y="376957"/>
                    </a:cubicBezTo>
                    <a:cubicBezTo>
                      <a:pt x="5356" y="376957"/>
                      <a:pt x="5356" y="376957"/>
                      <a:pt x="98208" y="284163"/>
                    </a:cubicBezTo>
                    <a:close/>
                    <a:moveTo>
                      <a:pt x="737502" y="0"/>
                    </a:moveTo>
                    <a:cubicBezTo>
                      <a:pt x="737502" y="0"/>
                      <a:pt x="737502" y="0"/>
                      <a:pt x="1058075" y="0"/>
                    </a:cubicBezTo>
                    <a:cubicBezTo>
                      <a:pt x="1058075" y="0"/>
                      <a:pt x="1058075" y="0"/>
                      <a:pt x="1058075" y="412272"/>
                    </a:cubicBezTo>
                    <a:cubicBezTo>
                      <a:pt x="1058075" y="412272"/>
                      <a:pt x="1058075" y="412272"/>
                      <a:pt x="1104483" y="366701"/>
                    </a:cubicBezTo>
                    <a:cubicBezTo>
                      <a:pt x="1111622" y="359581"/>
                      <a:pt x="1123760" y="359581"/>
                      <a:pt x="1130900" y="367413"/>
                    </a:cubicBezTo>
                    <a:cubicBezTo>
                      <a:pt x="1138039" y="374534"/>
                      <a:pt x="1138039" y="386638"/>
                      <a:pt x="1130900" y="393759"/>
                    </a:cubicBezTo>
                    <a:cubicBezTo>
                      <a:pt x="1130900" y="393759"/>
                      <a:pt x="1130900" y="393759"/>
                      <a:pt x="1055219" y="467811"/>
                    </a:cubicBezTo>
                    <a:cubicBezTo>
                      <a:pt x="1053791" y="470659"/>
                      <a:pt x="1051649" y="472083"/>
                      <a:pt x="1049507" y="473508"/>
                    </a:cubicBezTo>
                    <a:cubicBezTo>
                      <a:pt x="1049507" y="473508"/>
                      <a:pt x="1049507" y="473508"/>
                      <a:pt x="1038797" y="484188"/>
                    </a:cubicBezTo>
                    <a:cubicBezTo>
                      <a:pt x="1038797" y="484188"/>
                      <a:pt x="1038797" y="484188"/>
                      <a:pt x="1025232" y="470659"/>
                    </a:cubicBezTo>
                    <a:cubicBezTo>
                      <a:pt x="998101" y="444314"/>
                      <a:pt x="953121" y="399455"/>
                      <a:pt x="948123" y="394471"/>
                    </a:cubicBezTo>
                    <a:cubicBezTo>
                      <a:pt x="940270" y="388063"/>
                      <a:pt x="938842" y="377382"/>
                      <a:pt x="944554" y="368837"/>
                    </a:cubicBezTo>
                    <a:cubicBezTo>
                      <a:pt x="950979" y="361005"/>
                      <a:pt x="962403" y="358869"/>
                      <a:pt x="970970" y="365277"/>
                    </a:cubicBezTo>
                    <a:cubicBezTo>
                      <a:pt x="972398" y="365989"/>
                      <a:pt x="974540" y="367413"/>
                      <a:pt x="1020948" y="413696"/>
                    </a:cubicBezTo>
                    <a:cubicBezTo>
                      <a:pt x="1020948" y="413696"/>
                      <a:pt x="1020948" y="413696"/>
                      <a:pt x="1020948" y="37026"/>
                    </a:cubicBezTo>
                    <a:cubicBezTo>
                      <a:pt x="1020948" y="37026"/>
                      <a:pt x="1020948" y="37026"/>
                      <a:pt x="737502" y="37026"/>
                    </a:cubicBezTo>
                    <a:cubicBezTo>
                      <a:pt x="727507" y="37026"/>
                      <a:pt x="718939" y="29194"/>
                      <a:pt x="718939" y="18513"/>
                    </a:cubicBezTo>
                    <a:cubicBezTo>
                      <a:pt x="718939" y="8545"/>
                      <a:pt x="727507" y="0"/>
                      <a:pt x="737502" y="0"/>
                    </a:cubicBezTo>
                    <a:close/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6" name="Freeform 11">
                <a:extLst>
                  <a:ext uri="{FF2B5EF4-FFF2-40B4-BE49-F238E27FC236}">
                    <a16:creationId xmlns:a16="http://schemas.microsoft.com/office/drawing/2014/main" id="{4FF2ED15-9A72-4287-9A7A-BB3AAC894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6367" y="2803525"/>
                <a:ext cx="1199071" cy="1208088"/>
              </a:xfrm>
              <a:custGeom>
                <a:avLst/>
                <a:gdLst>
                  <a:gd name="connsiteX0" fmla="*/ 878957 w 1199071"/>
                  <a:gd name="connsiteY0" fmla="*/ 901700 h 1208088"/>
                  <a:gd name="connsiteX1" fmla="*/ 1146793 w 1199071"/>
                  <a:gd name="connsiteY1" fmla="*/ 901700 h 1208088"/>
                  <a:gd name="connsiteX2" fmla="*/ 1148941 w 1199071"/>
                  <a:gd name="connsiteY2" fmla="*/ 903122 h 1208088"/>
                  <a:gd name="connsiteX3" fmla="*/ 1146793 w 1199071"/>
                  <a:gd name="connsiteY3" fmla="*/ 914496 h 1208088"/>
                  <a:gd name="connsiteX4" fmla="*/ 1184032 w 1199071"/>
                  <a:gd name="connsiteY4" fmla="*/ 950751 h 1208088"/>
                  <a:gd name="connsiteX5" fmla="*/ 1196923 w 1199071"/>
                  <a:gd name="connsiteY5" fmla="*/ 947907 h 1208088"/>
                  <a:gd name="connsiteX6" fmla="*/ 1199071 w 1199071"/>
                  <a:gd name="connsiteY6" fmla="*/ 950040 h 1208088"/>
                  <a:gd name="connsiteX7" fmla="*/ 1199071 w 1199071"/>
                  <a:gd name="connsiteY7" fmla="*/ 1160459 h 1208088"/>
                  <a:gd name="connsiteX8" fmla="*/ 1196923 w 1199071"/>
                  <a:gd name="connsiteY8" fmla="*/ 1161881 h 1208088"/>
                  <a:gd name="connsiteX9" fmla="*/ 1184032 w 1199071"/>
                  <a:gd name="connsiteY9" fmla="*/ 1159748 h 1208088"/>
                  <a:gd name="connsiteX10" fmla="*/ 1146793 w 1199071"/>
                  <a:gd name="connsiteY10" fmla="*/ 1195292 h 1208088"/>
                  <a:gd name="connsiteX11" fmla="*/ 1148225 w 1199071"/>
                  <a:gd name="connsiteY11" fmla="*/ 1205956 h 1208088"/>
                  <a:gd name="connsiteX12" fmla="*/ 1146793 w 1199071"/>
                  <a:gd name="connsiteY12" fmla="*/ 1208088 h 1208088"/>
                  <a:gd name="connsiteX13" fmla="*/ 878957 w 1199071"/>
                  <a:gd name="connsiteY13" fmla="*/ 1208088 h 1208088"/>
                  <a:gd name="connsiteX14" fmla="*/ 878241 w 1199071"/>
                  <a:gd name="connsiteY14" fmla="*/ 1205245 h 1208088"/>
                  <a:gd name="connsiteX15" fmla="*/ 952003 w 1199071"/>
                  <a:gd name="connsiteY15" fmla="*/ 1055250 h 1208088"/>
                  <a:gd name="connsiteX16" fmla="*/ 878241 w 1199071"/>
                  <a:gd name="connsiteY16" fmla="*/ 903833 h 1208088"/>
                  <a:gd name="connsiteX17" fmla="*/ 878957 w 1199071"/>
                  <a:gd name="connsiteY17" fmla="*/ 901700 h 1208088"/>
                  <a:gd name="connsiteX18" fmla="*/ 518927 w 1199071"/>
                  <a:gd name="connsiteY18" fmla="*/ 901700 h 1208088"/>
                  <a:gd name="connsiteX19" fmla="*/ 786633 w 1199071"/>
                  <a:gd name="connsiteY19" fmla="*/ 901700 h 1208088"/>
                  <a:gd name="connsiteX20" fmla="*/ 788065 w 1199071"/>
                  <a:gd name="connsiteY20" fmla="*/ 903833 h 1208088"/>
                  <a:gd name="connsiteX21" fmla="*/ 713622 w 1199071"/>
                  <a:gd name="connsiteY21" fmla="*/ 1055250 h 1208088"/>
                  <a:gd name="connsiteX22" fmla="*/ 788065 w 1199071"/>
                  <a:gd name="connsiteY22" fmla="*/ 1205245 h 1208088"/>
                  <a:gd name="connsiteX23" fmla="*/ 786633 w 1199071"/>
                  <a:gd name="connsiteY23" fmla="*/ 1208088 h 1208088"/>
                  <a:gd name="connsiteX24" fmla="*/ 519643 w 1199071"/>
                  <a:gd name="connsiteY24" fmla="*/ 1208088 h 1208088"/>
                  <a:gd name="connsiteX25" fmla="*/ 518211 w 1199071"/>
                  <a:gd name="connsiteY25" fmla="*/ 1205956 h 1208088"/>
                  <a:gd name="connsiteX26" fmla="*/ 519643 w 1199071"/>
                  <a:gd name="connsiteY26" fmla="*/ 1195292 h 1208088"/>
                  <a:gd name="connsiteX27" fmla="*/ 483137 w 1199071"/>
                  <a:gd name="connsiteY27" fmla="*/ 1159748 h 1208088"/>
                  <a:gd name="connsiteX28" fmla="*/ 470969 w 1199071"/>
                  <a:gd name="connsiteY28" fmla="*/ 1161170 h 1208088"/>
                  <a:gd name="connsiteX29" fmla="*/ 468821 w 1199071"/>
                  <a:gd name="connsiteY29" fmla="*/ 1159748 h 1208088"/>
                  <a:gd name="connsiteX30" fmla="*/ 468821 w 1199071"/>
                  <a:gd name="connsiteY30" fmla="*/ 950040 h 1208088"/>
                  <a:gd name="connsiteX31" fmla="*/ 470969 w 1199071"/>
                  <a:gd name="connsiteY31" fmla="*/ 948618 h 1208088"/>
                  <a:gd name="connsiteX32" fmla="*/ 483137 w 1199071"/>
                  <a:gd name="connsiteY32" fmla="*/ 950751 h 1208088"/>
                  <a:gd name="connsiteX33" fmla="*/ 519643 w 1199071"/>
                  <a:gd name="connsiteY33" fmla="*/ 914496 h 1208088"/>
                  <a:gd name="connsiteX34" fmla="*/ 518211 w 1199071"/>
                  <a:gd name="connsiteY34" fmla="*/ 903122 h 1208088"/>
                  <a:gd name="connsiteX35" fmla="*/ 518927 w 1199071"/>
                  <a:gd name="connsiteY35" fmla="*/ 901700 h 1208088"/>
                  <a:gd name="connsiteX36" fmla="*/ 326025 w 1199071"/>
                  <a:gd name="connsiteY36" fmla="*/ 182184 h 1208088"/>
                  <a:gd name="connsiteX37" fmla="*/ 273872 w 1199071"/>
                  <a:gd name="connsiteY37" fmla="*/ 193386 h 1208088"/>
                  <a:gd name="connsiteX38" fmla="*/ 204469 w 1199071"/>
                  <a:gd name="connsiteY38" fmla="*/ 370489 h 1208088"/>
                  <a:gd name="connsiteX39" fmla="*/ 381196 w 1199071"/>
                  <a:gd name="connsiteY39" fmla="*/ 440904 h 1208088"/>
                  <a:gd name="connsiteX40" fmla="*/ 449884 w 1199071"/>
                  <a:gd name="connsiteY40" fmla="*/ 263801 h 1208088"/>
                  <a:gd name="connsiteX41" fmla="*/ 326025 w 1199071"/>
                  <a:gd name="connsiteY41" fmla="*/ 182184 h 1208088"/>
                  <a:gd name="connsiteX42" fmla="*/ 423813 w 1199071"/>
                  <a:gd name="connsiteY42" fmla="*/ 0 h 1208088"/>
                  <a:gd name="connsiteX43" fmla="*/ 543626 w 1199071"/>
                  <a:gd name="connsiteY43" fmla="*/ 68477 h 1208088"/>
                  <a:gd name="connsiteX44" fmla="*/ 540060 w 1199071"/>
                  <a:gd name="connsiteY44" fmla="*/ 124115 h 1208088"/>
                  <a:gd name="connsiteX45" fmla="*/ 574293 w 1199071"/>
                  <a:gd name="connsiteY45" fmla="*/ 171193 h 1208088"/>
                  <a:gd name="connsiteX46" fmla="*/ 597828 w 1199071"/>
                  <a:gd name="connsiteY46" fmla="*/ 221837 h 1208088"/>
                  <a:gd name="connsiteX47" fmla="*/ 647750 w 1199071"/>
                  <a:gd name="connsiteY47" fmla="*/ 244663 h 1208088"/>
                  <a:gd name="connsiteX48" fmla="*/ 649176 w 1199071"/>
                  <a:gd name="connsiteY48" fmla="*/ 382331 h 1208088"/>
                  <a:gd name="connsiteX49" fmla="*/ 600680 w 1199071"/>
                  <a:gd name="connsiteY49" fmla="*/ 404443 h 1208088"/>
                  <a:gd name="connsiteX50" fmla="*/ 541487 w 1199071"/>
                  <a:gd name="connsiteY50" fmla="*/ 509298 h 1208088"/>
                  <a:gd name="connsiteX51" fmla="*/ 548618 w 1199071"/>
                  <a:gd name="connsiteY51" fmla="*/ 564223 h 1208088"/>
                  <a:gd name="connsiteX52" fmla="*/ 493704 w 1199071"/>
                  <a:gd name="connsiteY52" fmla="*/ 605594 h 1208088"/>
                  <a:gd name="connsiteX53" fmla="*/ 431658 w 1199071"/>
                  <a:gd name="connsiteY53" fmla="*/ 633413 h 1208088"/>
                  <a:gd name="connsiteX54" fmla="*/ 387441 w 1199071"/>
                  <a:gd name="connsiteY54" fmla="*/ 600601 h 1208088"/>
                  <a:gd name="connsiteX55" fmla="*/ 269054 w 1199071"/>
                  <a:gd name="connsiteY55" fmla="*/ 599888 h 1208088"/>
                  <a:gd name="connsiteX56" fmla="*/ 225550 w 1199071"/>
                  <a:gd name="connsiteY56" fmla="*/ 633413 h 1208088"/>
                  <a:gd name="connsiteX57" fmla="*/ 107163 w 1199071"/>
                  <a:gd name="connsiteY57" fmla="*/ 562083 h 1208088"/>
                  <a:gd name="connsiteX58" fmla="*/ 114295 w 1199071"/>
                  <a:gd name="connsiteY58" fmla="*/ 507159 h 1208088"/>
                  <a:gd name="connsiteX59" fmla="*/ 82202 w 1199071"/>
                  <a:gd name="connsiteY59" fmla="*/ 461507 h 1208088"/>
                  <a:gd name="connsiteX60" fmla="*/ 57241 w 1199071"/>
                  <a:gd name="connsiteY60" fmla="*/ 407296 h 1208088"/>
                  <a:gd name="connsiteX61" fmla="*/ 7319 w 1199071"/>
                  <a:gd name="connsiteY61" fmla="*/ 386610 h 1208088"/>
                  <a:gd name="connsiteX62" fmla="*/ 8745 w 1199071"/>
                  <a:gd name="connsiteY62" fmla="*/ 243950 h 1208088"/>
                  <a:gd name="connsiteX63" fmla="*/ 58667 w 1199071"/>
                  <a:gd name="connsiteY63" fmla="*/ 221124 h 1208088"/>
                  <a:gd name="connsiteX64" fmla="*/ 113582 w 1199071"/>
                  <a:gd name="connsiteY64" fmla="*/ 127681 h 1208088"/>
                  <a:gd name="connsiteX65" fmla="*/ 106450 w 1199071"/>
                  <a:gd name="connsiteY65" fmla="*/ 72044 h 1208088"/>
                  <a:gd name="connsiteX66" fmla="*/ 163504 w 1199071"/>
                  <a:gd name="connsiteY66" fmla="*/ 29959 h 1208088"/>
                  <a:gd name="connsiteX67" fmla="*/ 227690 w 1199071"/>
                  <a:gd name="connsiteY67" fmla="*/ 713 h 1208088"/>
                  <a:gd name="connsiteX68" fmla="*/ 272620 w 1199071"/>
                  <a:gd name="connsiteY68" fmla="*/ 33525 h 1208088"/>
                  <a:gd name="connsiteX69" fmla="*/ 379596 w 1199071"/>
                  <a:gd name="connsiteY69" fmla="*/ 33525 h 1208088"/>
                  <a:gd name="connsiteX70" fmla="*/ 423813 w 1199071"/>
                  <a:gd name="connsiteY70" fmla="*/ 0 h 1208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1199071" h="1208088">
                    <a:moveTo>
                      <a:pt x="878957" y="901700"/>
                    </a:moveTo>
                    <a:cubicBezTo>
                      <a:pt x="878957" y="901700"/>
                      <a:pt x="878957" y="901700"/>
                      <a:pt x="1146793" y="901700"/>
                    </a:cubicBezTo>
                    <a:cubicBezTo>
                      <a:pt x="1148225" y="901700"/>
                      <a:pt x="1148941" y="902411"/>
                      <a:pt x="1148941" y="903122"/>
                    </a:cubicBezTo>
                    <a:cubicBezTo>
                      <a:pt x="1147509" y="906676"/>
                      <a:pt x="1146793" y="910942"/>
                      <a:pt x="1146793" y="914496"/>
                    </a:cubicBezTo>
                    <a:cubicBezTo>
                      <a:pt x="1146793" y="934400"/>
                      <a:pt x="1163264" y="950751"/>
                      <a:pt x="1184032" y="950751"/>
                    </a:cubicBezTo>
                    <a:cubicBezTo>
                      <a:pt x="1188329" y="950751"/>
                      <a:pt x="1193342" y="950040"/>
                      <a:pt x="1196923" y="947907"/>
                    </a:cubicBezTo>
                    <a:cubicBezTo>
                      <a:pt x="1198355" y="947907"/>
                      <a:pt x="1199071" y="948618"/>
                      <a:pt x="1199071" y="950040"/>
                    </a:cubicBezTo>
                    <a:cubicBezTo>
                      <a:pt x="1199071" y="950040"/>
                      <a:pt x="1199071" y="950040"/>
                      <a:pt x="1199071" y="1160459"/>
                    </a:cubicBezTo>
                    <a:cubicBezTo>
                      <a:pt x="1199071" y="1161170"/>
                      <a:pt x="1198355" y="1161881"/>
                      <a:pt x="1196923" y="1161881"/>
                    </a:cubicBezTo>
                    <a:cubicBezTo>
                      <a:pt x="1193342" y="1160459"/>
                      <a:pt x="1188329" y="1159748"/>
                      <a:pt x="1184032" y="1159748"/>
                    </a:cubicBezTo>
                    <a:cubicBezTo>
                      <a:pt x="1163264" y="1159748"/>
                      <a:pt x="1146793" y="1176099"/>
                      <a:pt x="1146793" y="1195292"/>
                    </a:cubicBezTo>
                    <a:cubicBezTo>
                      <a:pt x="1146793" y="1198847"/>
                      <a:pt x="1146793" y="1202401"/>
                      <a:pt x="1148225" y="1205956"/>
                    </a:cubicBezTo>
                    <a:cubicBezTo>
                      <a:pt x="1148941" y="1206666"/>
                      <a:pt x="1148225" y="1208088"/>
                      <a:pt x="1146793" y="1208088"/>
                    </a:cubicBezTo>
                    <a:cubicBezTo>
                      <a:pt x="1146793" y="1208088"/>
                      <a:pt x="1146793" y="1208088"/>
                      <a:pt x="878957" y="1208088"/>
                    </a:cubicBezTo>
                    <a:cubicBezTo>
                      <a:pt x="877524" y="1208088"/>
                      <a:pt x="876808" y="1205956"/>
                      <a:pt x="878241" y="1205245"/>
                    </a:cubicBezTo>
                    <a:cubicBezTo>
                      <a:pt x="915480" y="1178942"/>
                      <a:pt x="952003" y="1121361"/>
                      <a:pt x="952003" y="1055250"/>
                    </a:cubicBezTo>
                    <a:cubicBezTo>
                      <a:pt x="952003" y="988427"/>
                      <a:pt x="915480" y="930135"/>
                      <a:pt x="878241" y="903833"/>
                    </a:cubicBezTo>
                    <a:cubicBezTo>
                      <a:pt x="876808" y="903122"/>
                      <a:pt x="877524" y="901700"/>
                      <a:pt x="878957" y="901700"/>
                    </a:cubicBezTo>
                    <a:close/>
                    <a:moveTo>
                      <a:pt x="518927" y="901700"/>
                    </a:moveTo>
                    <a:cubicBezTo>
                      <a:pt x="518927" y="901700"/>
                      <a:pt x="518927" y="901700"/>
                      <a:pt x="786633" y="901700"/>
                    </a:cubicBezTo>
                    <a:cubicBezTo>
                      <a:pt x="788780" y="901700"/>
                      <a:pt x="789496" y="903122"/>
                      <a:pt x="788065" y="903833"/>
                    </a:cubicBezTo>
                    <a:cubicBezTo>
                      <a:pt x="750128" y="930135"/>
                      <a:pt x="713622" y="988427"/>
                      <a:pt x="713622" y="1055250"/>
                    </a:cubicBezTo>
                    <a:cubicBezTo>
                      <a:pt x="713622" y="1121361"/>
                      <a:pt x="750128" y="1178942"/>
                      <a:pt x="788065" y="1205245"/>
                    </a:cubicBezTo>
                    <a:cubicBezTo>
                      <a:pt x="789496" y="1205956"/>
                      <a:pt x="788780" y="1208088"/>
                      <a:pt x="786633" y="1208088"/>
                    </a:cubicBezTo>
                    <a:cubicBezTo>
                      <a:pt x="786633" y="1208088"/>
                      <a:pt x="786633" y="1208088"/>
                      <a:pt x="519643" y="1208088"/>
                    </a:cubicBezTo>
                    <a:cubicBezTo>
                      <a:pt x="518927" y="1208088"/>
                      <a:pt x="518211" y="1206666"/>
                      <a:pt x="518211" y="1205956"/>
                    </a:cubicBezTo>
                    <a:cubicBezTo>
                      <a:pt x="518927" y="1202401"/>
                      <a:pt x="519643" y="1198847"/>
                      <a:pt x="519643" y="1195292"/>
                    </a:cubicBezTo>
                    <a:cubicBezTo>
                      <a:pt x="519643" y="1176099"/>
                      <a:pt x="503895" y="1159748"/>
                      <a:pt x="483137" y="1159748"/>
                    </a:cubicBezTo>
                    <a:cubicBezTo>
                      <a:pt x="478842" y="1159748"/>
                      <a:pt x="474548" y="1160459"/>
                      <a:pt x="470969" y="1161170"/>
                    </a:cubicBezTo>
                    <a:cubicBezTo>
                      <a:pt x="470253" y="1161881"/>
                      <a:pt x="468821" y="1161170"/>
                      <a:pt x="468821" y="1159748"/>
                    </a:cubicBezTo>
                    <a:cubicBezTo>
                      <a:pt x="468821" y="1159748"/>
                      <a:pt x="468821" y="1159748"/>
                      <a:pt x="468821" y="950040"/>
                    </a:cubicBezTo>
                    <a:cubicBezTo>
                      <a:pt x="468821" y="948618"/>
                      <a:pt x="470253" y="947907"/>
                      <a:pt x="470969" y="948618"/>
                    </a:cubicBezTo>
                    <a:cubicBezTo>
                      <a:pt x="474548" y="950040"/>
                      <a:pt x="478842" y="950751"/>
                      <a:pt x="483137" y="950751"/>
                    </a:cubicBezTo>
                    <a:cubicBezTo>
                      <a:pt x="503895" y="950751"/>
                      <a:pt x="519643" y="934400"/>
                      <a:pt x="519643" y="914496"/>
                    </a:cubicBezTo>
                    <a:cubicBezTo>
                      <a:pt x="519643" y="910942"/>
                      <a:pt x="518927" y="906676"/>
                      <a:pt x="518211" y="903122"/>
                    </a:cubicBezTo>
                    <a:cubicBezTo>
                      <a:pt x="517495" y="902411"/>
                      <a:pt x="518211" y="901700"/>
                      <a:pt x="518927" y="901700"/>
                    </a:cubicBezTo>
                    <a:close/>
                    <a:moveTo>
                      <a:pt x="326025" y="182184"/>
                    </a:moveTo>
                    <a:cubicBezTo>
                      <a:pt x="308574" y="182317"/>
                      <a:pt x="290865" y="185918"/>
                      <a:pt x="273872" y="193386"/>
                    </a:cubicBezTo>
                    <a:cubicBezTo>
                      <a:pt x="205900" y="222548"/>
                      <a:pt x="175134" y="301497"/>
                      <a:pt x="204469" y="370489"/>
                    </a:cubicBezTo>
                    <a:cubicBezTo>
                      <a:pt x="233805" y="438770"/>
                      <a:pt x="313224" y="471488"/>
                      <a:pt x="381196" y="440904"/>
                    </a:cubicBezTo>
                    <a:cubicBezTo>
                      <a:pt x="449168" y="412454"/>
                      <a:pt x="479934" y="332081"/>
                      <a:pt x="449884" y="263801"/>
                    </a:cubicBezTo>
                    <a:cubicBezTo>
                      <a:pt x="428419" y="212590"/>
                      <a:pt x="378379" y="181784"/>
                      <a:pt x="326025" y="182184"/>
                    </a:cubicBezTo>
                    <a:close/>
                    <a:moveTo>
                      <a:pt x="423813" y="0"/>
                    </a:moveTo>
                    <a:cubicBezTo>
                      <a:pt x="467317" y="13553"/>
                      <a:pt x="510107" y="37805"/>
                      <a:pt x="543626" y="68477"/>
                    </a:cubicBezTo>
                    <a:cubicBezTo>
                      <a:pt x="543626" y="68477"/>
                      <a:pt x="543626" y="68477"/>
                      <a:pt x="540060" y="124115"/>
                    </a:cubicBezTo>
                    <a:cubicBezTo>
                      <a:pt x="552898" y="138381"/>
                      <a:pt x="565021" y="154074"/>
                      <a:pt x="574293" y="171193"/>
                    </a:cubicBezTo>
                    <a:cubicBezTo>
                      <a:pt x="584277" y="188312"/>
                      <a:pt x="592122" y="205431"/>
                      <a:pt x="597828" y="221837"/>
                    </a:cubicBezTo>
                    <a:cubicBezTo>
                      <a:pt x="597828" y="221837"/>
                      <a:pt x="597828" y="221837"/>
                      <a:pt x="647750" y="244663"/>
                    </a:cubicBezTo>
                    <a:cubicBezTo>
                      <a:pt x="657021" y="290314"/>
                      <a:pt x="657734" y="338106"/>
                      <a:pt x="649176" y="382331"/>
                    </a:cubicBezTo>
                    <a:cubicBezTo>
                      <a:pt x="649176" y="382331"/>
                      <a:pt x="649176" y="382331"/>
                      <a:pt x="600680" y="404443"/>
                    </a:cubicBezTo>
                    <a:cubicBezTo>
                      <a:pt x="587843" y="442961"/>
                      <a:pt x="568587" y="479340"/>
                      <a:pt x="541487" y="509298"/>
                    </a:cubicBezTo>
                    <a:cubicBezTo>
                      <a:pt x="541487" y="509298"/>
                      <a:pt x="541487" y="509298"/>
                      <a:pt x="548618" y="564223"/>
                    </a:cubicBezTo>
                    <a:cubicBezTo>
                      <a:pt x="530789" y="579202"/>
                      <a:pt x="512247" y="592755"/>
                      <a:pt x="493704" y="605594"/>
                    </a:cubicBezTo>
                    <a:cubicBezTo>
                      <a:pt x="473022" y="616294"/>
                      <a:pt x="452340" y="625567"/>
                      <a:pt x="431658" y="633413"/>
                    </a:cubicBezTo>
                    <a:cubicBezTo>
                      <a:pt x="431658" y="633413"/>
                      <a:pt x="431658" y="633413"/>
                      <a:pt x="387441" y="600601"/>
                    </a:cubicBezTo>
                    <a:cubicBezTo>
                      <a:pt x="346790" y="609161"/>
                      <a:pt x="307565" y="609161"/>
                      <a:pt x="269054" y="599888"/>
                    </a:cubicBezTo>
                    <a:cubicBezTo>
                      <a:pt x="269054" y="599888"/>
                      <a:pt x="269054" y="599888"/>
                      <a:pt x="225550" y="633413"/>
                    </a:cubicBezTo>
                    <a:cubicBezTo>
                      <a:pt x="183473" y="617720"/>
                      <a:pt x="142822" y="594895"/>
                      <a:pt x="107163" y="562083"/>
                    </a:cubicBezTo>
                    <a:cubicBezTo>
                      <a:pt x="107163" y="562083"/>
                      <a:pt x="107163" y="562083"/>
                      <a:pt x="114295" y="507159"/>
                    </a:cubicBezTo>
                    <a:cubicBezTo>
                      <a:pt x="102171" y="493606"/>
                      <a:pt x="91473" y="478626"/>
                      <a:pt x="82202" y="461507"/>
                    </a:cubicBezTo>
                    <a:cubicBezTo>
                      <a:pt x="71504" y="445101"/>
                      <a:pt x="62946" y="425842"/>
                      <a:pt x="57241" y="407296"/>
                    </a:cubicBezTo>
                    <a:cubicBezTo>
                      <a:pt x="57241" y="407296"/>
                      <a:pt x="57241" y="407296"/>
                      <a:pt x="7319" y="386610"/>
                    </a:cubicBezTo>
                    <a:cubicBezTo>
                      <a:pt x="-2666" y="337392"/>
                      <a:pt x="-2666" y="289601"/>
                      <a:pt x="8745" y="243950"/>
                    </a:cubicBezTo>
                    <a:cubicBezTo>
                      <a:pt x="8745" y="243950"/>
                      <a:pt x="8745" y="243950"/>
                      <a:pt x="58667" y="221124"/>
                    </a:cubicBezTo>
                    <a:cubicBezTo>
                      <a:pt x="70078" y="187599"/>
                      <a:pt x="89334" y="156213"/>
                      <a:pt x="113582" y="127681"/>
                    </a:cubicBezTo>
                    <a:cubicBezTo>
                      <a:pt x="113582" y="127681"/>
                      <a:pt x="113582" y="127681"/>
                      <a:pt x="106450" y="72044"/>
                    </a:cubicBezTo>
                    <a:cubicBezTo>
                      <a:pt x="122853" y="57064"/>
                      <a:pt x="142822" y="42085"/>
                      <a:pt x="163504" y="29959"/>
                    </a:cubicBezTo>
                    <a:cubicBezTo>
                      <a:pt x="184899" y="17833"/>
                      <a:pt x="205581" y="8560"/>
                      <a:pt x="227690" y="713"/>
                    </a:cubicBezTo>
                    <a:cubicBezTo>
                      <a:pt x="227690" y="713"/>
                      <a:pt x="227690" y="713"/>
                      <a:pt x="272620" y="33525"/>
                    </a:cubicBezTo>
                    <a:cubicBezTo>
                      <a:pt x="307565" y="26392"/>
                      <a:pt x="343937" y="25679"/>
                      <a:pt x="379596" y="33525"/>
                    </a:cubicBezTo>
                    <a:cubicBezTo>
                      <a:pt x="379596" y="33525"/>
                      <a:pt x="379596" y="33525"/>
                      <a:pt x="423813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787" name="TextBox 786">
            <a:extLst>
              <a:ext uri="{FF2B5EF4-FFF2-40B4-BE49-F238E27FC236}">
                <a16:creationId xmlns:a16="http://schemas.microsoft.com/office/drawing/2014/main" id="{B656F07D-0F1D-4278-A092-CFB53A987C83}"/>
              </a:ext>
            </a:extLst>
          </p:cNvPr>
          <p:cNvSpPr txBox="1"/>
          <p:nvPr/>
        </p:nvSpPr>
        <p:spPr>
          <a:xfrm>
            <a:off x="7946603" y="5237163"/>
            <a:ext cx="716641" cy="5556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u="none" strike="noStrike" cap="none" spc="0" normalizeH="0" baseline="0">
                <a:ln>
                  <a:noFill/>
                </a:ln>
                <a:effectLst/>
                <a:uLnTx/>
                <a:uFillTx/>
                <a:latin typeface="Bahnschrift SemiCondensed" panose="020B0502040204020203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ian Rupee vs USD</a:t>
            </a:r>
          </a:p>
        </p:txBody>
      </p:sp>
      <p:sp>
        <p:nvSpPr>
          <p:cNvPr id="788" name="TextBox 787">
            <a:extLst>
              <a:ext uri="{FF2B5EF4-FFF2-40B4-BE49-F238E27FC236}">
                <a16:creationId xmlns:a16="http://schemas.microsoft.com/office/drawing/2014/main" id="{F3D74164-E511-4122-954A-EA33B71DFDE9}"/>
              </a:ext>
            </a:extLst>
          </p:cNvPr>
          <p:cNvSpPr txBox="1"/>
          <p:nvPr/>
        </p:nvSpPr>
        <p:spPr>
          <a:xfrm>
            <a:off x="9777847" y="5364163"/>
            <a:ext cx="1164922" cy="215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Bahnschrift SemiCondensed" panose="020B05020402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E5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2.02 Per USD*</a:t>
            </a:r>
          </a:p>
        </p:txBody>
      </p:sp>
      <p:sp>
        <p:nvSpPr>
          <p:cNvPr id="789" name="Rectangle: Rounded Corners 788">
            <a:extLst>
              <a:ext uri="{FF2B5EF4-FFF2-40B4-BE49-F238E27FC236}">
                <a16:creationId xmlns:a16="http://schemas.microsoft.com/office/drawing/2014/main" id="{CE2FE25C-BB1F-4CCD-A782-2BBEE43805BB}"/>
              </a:ext>
            </a:extLst>
          </p:cNvPr>
          <p:cNvSpPr/>
          <p:nvPr/>
        </p:nvSpPr>
        <p:spPr>
          <a:xfrm>
            <a:off x="1438487" y="4475447"/>
            <a:ext cx="2055756" cy="27753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B3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eign Trade Statistics</a:t>
            </a:r>
          </a:p>
        </p:txBody>
      </p:sp>
      <p:sp>
        <p:nvSpPr>
          <p:cNvPr id="811" name="Rectangle: Rounded Corners 810">
            <a:extLst>
              <a:ext uri="{FF2B5EF4-FFF2-40B4-BE49-F238E27FC236}">
                <a16:creationId xmlns:a16="http://schemas.microsoft.com/office/drawing/2014/main" id="{0C47602F-9F3E-4172-A41B-2343E014746A}"/>
              </a:ext>
            </a:extLst>
          </p:cNvPr>
          <p:cNvSpPr/>
          <p:nvPr/>
        </p:nvSpPr>
        <p:spPr>
          <a:xfrm>
            <a:off x="5002485" y="4547439"/>
            <a:ext cx="2024600" cy="30003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B3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BI’s Policy Rates (%)</a:t>
            </a:r>
          </a:p>
        </p:txBody>
      </p:sp>
      <p:sp>
        <p:nvSpPr>
          <p:cNvPr id="816" name="TextBox 815">
            <a:extLst>
              <a:ext uri="{FF2B5EF4-FFF2-40B4-BE49-F238E27FC236}">
                <a16:creationId xmlns:a16="http://schemas.microsoft.com/office/drawing/2014/main" id="{CAA8583A-F233-4516-B192-F913478C9056}"/>
              </a:ext>
            </a:extLst>
          </p:cNvPr>
          <p:cNvSpPr txBox="1"/>
          <p:nvPr/>
        </p:nvSpPr>
        <p:spPr>
          <a:xfrm>
            <a:off x="4505166" y="3127444"/>
            <a:ext cx="769450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B3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Y-o-Y in %)</a:t>
            </a:r>
          </a:p>
        </p:txBody>
      </p:sp>
      <p:sp>
        <p:nvSpPr>
          <p:cNvPr id="818" name="TextBox 817">
            <a:extLst>
              <a:ext uri="{FF2B5EF4-FFF2-40B4-BE49-F238E27FC236}">
                <a16:creationId xmlns:a16="http://schemas.microsoft.com/office/drawing/2014/main" id="{91A177C3-3E11-45F6-A52A-F7DA91D2374C}"/>
              </a:ext>
            </a:extLst>
          </p:cNvPr>
          <p:cNvSpPr txBox="1"/>
          <p:nvPr/>
        </p:nvSpPr>
        <p:spPr>
          <a:xfrm>
            <a:off x="6558020" y="4232243"/>
            <a:ext cx="965269" cy="13335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May &amp; Jun 2023</a:t>
            </a:r>
          </a:p>
        </p:txBody>
      </p:sp>
      <p:sp>
        <p:nvSpPr>
          <p:cNvPr id="819" name="Rectangle: Rounded Corners 818">
            <a:extLst>
              <a:ext uri="{FF2B5EF4-FFF2-40B4-BE49-F238E27FC236}">
                <a16:creationId xmlns:a16="http://schemas.microsoft.com/office/drawing/2014/main" id="{C9517C87-D655-47A4-B87C-6EDB8BF63990}"/>
              </a:ext>
            </a:extLst>
          </p:cNvPr>
          <p:cNvSpPr/>
          <p:nvPr/>
        </p:nvSpPr>
        <p:spPr>
          <a:xfrm>
            <a:off x="8729290" y="4570383"/>
            <a:ext cx="1489820" cy="28234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B3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change Rate</a:t>
            </a:r>
          </a:p>
        </p:txBody>
      </p:sp>
      <p:sp>
        <p:nvSpPr>
          <p:cNvPr id="859" name="Rectangle: Rounded Corners 858">
            <a:extLst>
              <a:ext uri="{FF2B5EF4-FFF2-40B4-BE49-F238E27FC236}">
                <a16:creationId xmlns:a16="http://schemas.microsoft.com/office/drawing/2014/main" id="{1422C3CD-E99A-4ED8-8DC7-AB2AA12FAAD7}"/>
              </a:ext>
            </a:extLst>
          </p:cNvPr>
          <p:cNvSpPr/>
          <p:nvPr/>
        </p:nvSpPr>
        <p:spPr>
          <a:xfrm>
            <a:off x="3650509" y="868876"/>
            <a:ext cx="1703615" cy="19685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B3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DP Growth </a:t>
            </a:r>
          </a:p>
        </p:txBody>
      </p:sp>
      <p:sp>
        <p:nvSpPr>
          <p:cNvPr id="867" name="Rectangle: Rounded Corners 866">
            <a:extLst>
              <a:ext uri="{FF2B5EF4-FFF2-40B4-BE49-F238E27FC236}">
                <a16:creationId xmlns:a16="http://schemas.microsoft.com/office/drawing/2014/main" id="{12FC97C7-1C5E-4BFD-A9F2-B47521398580}"/>
              </a:ext>
            </a:extLst>
          </p:cNvPr>
          <p:cNvSpPr/>
          <p:nvPr/>
        </p:nvSpPr>
        <p:spPr>
          <a:xfrm>
            <a:off x="8834012" y="2823989"/>
            <a:ext cx="1109903" cy="18776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B3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MI Index</a:t>
            </a:r>
          </a:p>
        </p:txBody>
      </p:sp>
      <p:sp>
        <p:nvSpPr>
          <p:cNvPr id="869" name="Text Placeholder 2">
            <a:extLst>
              <a:ext uri="{FF2B5EF4-FFF2-40B4-BE49-F238E27FC236}">
                <a16:creationId xmlns:a16="http://schemas.microsoft.com/office/drawing/2014/main" id="{508C08D8-C378-496F-9BCB-0D5E524F3F9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010905" y="4055123"/>
            <a:ext cx="2159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Mar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871" name="Text Placeholder 2">
            <a:extLst>
              <a:ext uri="{FF2B5EF4-FFF2-40B4-BE49-F238E27FC236}">
                <a16:creationId xmlns:a16="http://schemas.microsoft.com/office/drawing/2014/main" id="{1781F005-05F6-4606-AF57-D66C891954E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392076" y="4058728"/>
            <a:ext cx="2524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Feb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872" name="Text Placeholder 2">
            <a:extLst>
              <a:ext uri="{FF2B5EF4-FFF2-40B4-BE49-F238E27FC236}">
                <a16:creationId xmlns:a16="http://schemas.microsoft.com/office/drawing/2014/main" id="{95D85EF0-9197-444A-BE32-D2B6D3CB0F1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538189" y="4056957"/>
            <a:ext cx="174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Apr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873" name="Text Placeholder 2">
            <a:extLst>
              <a:ext uri="{FF2B5EF4-FFF2-40B4-BE49-F238E27FC236}">
                <a16:creationId xmlns:a16="http://schemas.microsoft.com/office/drawing/2014/main" id="{77DBB68A-7C22-41D1-B103-16996D361D3B}"/>
              </a:ext>
            </a:extLst>
          </p:cNvPr>
          <p:cNvSpPr>
            <a:spLocks noGrp="1"/>
          </p:cNvSpPr>
          <p:nvPr/>
        </p:nvSpPr>
        <p:spPr bwMode="gray">
          <a:xfrm>
            <a:off x="3066400" y="4052552"/>
            <a:ext cx="2365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May</a:t>
            </a:r>
          </a:p>
        </p:txBody>
      </p:sp>
      <p:sp>
        <p:nvSpPr>
          <p:cNvPr id="877" name="Rectangle 876">
            <a:extLst>
              <a:ext uri="{FF2B5EF4-FFF2-40B4-BE49-F238E27FC236}">
                <a16:creationId xmlns:a16="http://schemas.microsoft.com/office/drawing/2014/main" id="{8452822D-EB05-402E-AA94-526F2FA582C8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2692811" y="4269883"/>
            <a:ext cx="50800" cy="50800"/>
          </a:xfrm>
          <a:prstGeom prst="rect">
            <a:avLst/>
          </a:prstGeom>
          <a:solidFill>
            <a:srgbClr val="1E50A0"/>
          </a:solidFill>
          <a:ln w="9525" cap="flat" cmpd="sng" algn="ctr">
            <a:solidFill>
              <a:srgbClr val="1E50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76" name="Oval 875">
            <a:extLst>
              <a:ext uri="{FF2B5EF4-FFF2-40B4-BE49-F238E27FC236}">
                <a16:creationId xmlns:a16="http://schemas.microsoft.com/office/drawing/2014/main" id="{33D32E21-7CE6-4A11-A024-871124B5A866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2253498" y="4269883"/>
            <a:ext cx="50800" cy="50800"/>
          </a:xfrm>
          <a:prstGeom prst="ellipse">
            <a:avLst/>
          </a:prstGeom>
          <a:solidFill>
            <a:srgbClr val="0080FF"/>
          </a:solidFill>
          <a:ln w="9525" cap="flat" cmpd="sng" algn="ctr">
            <a:solidFill>
              <a:srgbClr val="0080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78" name="Text Placeholder 2">
            <a:extLst>
              <a:ext uri="{FF2B5EF4-FFF2-40B4-BE49-F238E27FC236}">
                <a16:creationId xmlns:a16="http://schemas.microsoft.com/office/drawing/2014/main" id="{8D3B5016-DCBC-4062-81EE-9E0EE8C5FBAF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2364275" y="4236546"/>
            <a:ext cx="2397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5FEEF43-B741-48F4-A0F4-6100AAF0C7A2}" type="datetime'''W''''P''''''''''''I''''''''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WPI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879" name="Text Placeholder 2">
            <a:extLst>
              <a:ext uri="{FF2B5EF4-FFF2-40B4-BE49-F238E27FC236}">
                <a16:creationId xmlns:a16="http://schemas.microsoft.com/office/drawing/2014/main" id="{AD086F9E-4072-4127-B80E-3D8AD466BF57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817935" y="4237485"/>
            <a:ext cx="2111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B1442A9-7BAB-44EF-BB27-3D2CB751F60D}" type="datetime'C''''''''''''''''''''''''''P''''''''''I'''''''">
              <a:rPr kumimoji="0" lang="en-US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PI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graphicFrame>
        <p:nvGraphicFramePr>
          <p:cNvPr id="58" name="Chart 57">
            <a:extLst>
              <a:ext uri="{FF2B5EF4-FFF2-40B4-BE49-F238E27FC236}">
                <a16:creationId xmlns:a16="http://schemas.microsoft.com/office/drawing/2014/main" id="{D2E95E80-7365-E6A6-8E7C-52F06ACDEC27}"/>
              </a:ext>
            </a:extLst>
          </p:cNvPr>
          <p:cNvGraphicFramePr/>
          <p:nvPr>
            <p:custDataLst>
              <p:tags r:id="rId32"/>
            </p:custDataLst>
          </p:nvPr>
        </p:nvGraphicFramePr>
        <p:xfrm>
          <a:off x="1382713" y="1412875"/>
          <a:ext cx="2816225" cy="901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8"/>
          </a:graphicData>
        </a:graphic>
      </p:graphicFrame>
      <p:sp>
        <p:nvSpPr>
          <p:cNvPr id="881" name="Text Placeholder 2">
            <a:extLst>
              <a:ext uri="{FF2B5EF4-FFF2-40B4-BE49-F238E27FC236}">
                <a16:creationId xmlns:a16="http://schemas.microsoft.com/office/drawing/2014/main" id="{BC4F3930-9B5B-4557-9FEF-1B9A16EAF47B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638300" y="2432050"/>
            <a:ext cx="3175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FY 21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885" name="Text Placeholder 2">
            <a:extLst>
              <a:ext uri="{FF2B5EF4-FFF2-40B4-BE49-F238E27FC236}">
                <a16:creationId xmlns:a16="http://schemas.microsoft.com/office/drawing/2014/main" id="{06F91C6A-29C2-4094-8BA0-B933166F2808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2316163" y="2432050"/>
            <a:ext cx="2857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FY22</a:t>
            </a:r>
          </a:p>
        </p:txBody>
      </p:sp>
      <p:sp>
        <p:nvSpPr>
          <p:cNvPr id="886" name="Text Placeholder 2">
            <a:extLst>
              <a:ext uri="{FF2B5EF4-FFF2-40B4-BE49-F238E27FC236}">
                <a16:creationId xmlns:a16="http://schemas.microsoft.com/office/drawing/2014/main" id="{90652D64-9FF7-48BE-BB60-B20F719F6F56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2979738" y="2432050"/>
            <a:ext cx="2857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FY23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7F490435-86FC-128F-82E5-227E0129C5A1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625850" y="2432050"/>
            <a:ext cx="3175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9D972B4-A6BE-42C0-AC9D-2975EAD09655}" type="datetime'''''F''''Y'' ''''''''''''''''''2''''''''''''''''''''''''4'">
              <a:rPr kumimoji="0" lang="en-US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FY 2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888" name="Text Placeholder 2">
            <a:extLst>
              <a:ext uri="{FF2B5EF4-FFF2-40B4-BE49-F238E27FC236}">
                <a16:creationId xmlns:a16="http://schemas.microsoft.com/office/drawing/2014/main" id="{7B3A0A10-4D9F-49A2-BBBC-366E7F554BBE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614488" y="2257425"/>
            <a:ext cx="3651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E71C57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-6.6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71C57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884" name="Text Placeholder 2">
            <a:extLst>
              <a:ext uri="{FF2B5EF4-FFF2-40B4-BE49-F238E27FC236}">
                <a16:creationId xmlns:a16="http://schemas.microsoft.com/office/drawing/2014/main" id="{C13AE9C5-9D41-46E5-B7C7-B66CDD92D6E0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298700" y="1333500"/>
            <a:ext cx="3222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8.9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aphicFrame>
        <p:nvGraphicFramePr>
          <p:cNvPr id="963" name="Chart 962">
            <a:extLst>
              <a:ext uri="{FF2B5EF4-FFF2-40B4-BE49-F238E27FC236}">
                <a16:creationId xmlns:a16="http://schemas.microsoft.com/office/drawing/2014/main" id="{62A60AC2-A745-4AA2-BD6B-A6ABA7F8E48F}"/>
              </a:ext>
            </a:extLst>
          </p:cNvPr>
          <p:cNvGraphicFramePr/>
          <p:nvPr>
            <p:custDataLst>
              <p:tags r:id="rId39"/>
            </p:custDataLst>
          </p:nvPr>
        </p:nvGraphicFramePr>
        <p:xfrm>
          <a:off x="4696526" y="1253092"/>
          <a:ext cx="2185987" cy="10485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9"/>
          </a:graphicData>
        </a:graphic>
      </p:graphicFrame>
      <p:sp>
        <p:nvSpPr>
          <p:cNvPr id="892" name="Text Placeholder 2">
            <a:extLst>
              <a:ext uri="{FF2B5EF4-FFF2-40B4-BE49-F238E27FC236}">
                <a16:creationId xmlns:a16="http://schemas.microsoft.com/office/drawing/2014/main" id="{640B93AE-20AF-40E1-942F-2E5778310147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266152" y="2245561"/>
            <a:ext cx="5524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Q2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891" name="Text Placeholder 2">
            <a:extLst>
              <a:ext uri="{FF2B5EF4-FFF2-40B4-BE49-F238E27FC236}">
                <a16:creationId xmlns:a16="http://schemas.microsoft.com/office/drawing/2014/main" id="{87DA42A0-FF11-4F1D-A5E0-E6C35528D64D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722166" y="2245561"/>
            <a:ext cx="5524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Q1</a:t>
            </a:r>
          </a:p>
        </p:txBody>
      </p:sp>
      <p:sp>
        <p:nvSpPr>
          <p:cNvPr id="894" name="Text Placeholder 2">
            <a:extLst>
              <a:ext uri="{FF2B5EF4-FFF2-40B4-BE49-F238E27FC236}">
                <a16:creationId xmlns:a16="http://schemas.microsoft.com/office/drawing/2014/main" id="{BC07F63A-0374-45A9-876B-DF4E0E04E40A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5751973" y="2245561"/>
            <a:ext cx="5524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Q3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896" name="Text Placeholder 2">
            <a:extLst>
              <a:ext uri="{FF2B5EF4-FFF2-40B4-BE49-F238E27FC236}">
                <a16:creationId xmlns:a16="http://schemas.microsoft.com/office/drawing/2014/main" id="{6C61C573-F6D6-4332-BDDD-10E48FB2883F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304423" y="2261660"/>
            <a:ext cx="5524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Q4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897" name="Text Placeholder 2">
            <a:extLst>
              <a:ext uri="{FF2B5EF4-FFF2-40B4-BE49-F238E27FC236}">
                <a16:creationId xmlns:a16="http://schemas.microsoft.com/office/drawing/2014/main" id="{77065A70-36BF-4669-8E4B-A96C7CF7FFF3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4866971" y="1203238"/>
            <a:ext cx="3190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6.9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895" name="Text Placeholder 2">
            <a:extLst>
              <a:ext uri="{FF2B5EF4-FFF2-40B4-BE49-F238E27FC236}">
                <a16:creationId xmlns:a16="http://schemas.microsoft.com/office/drawing/2014/main" id="{3007BDD0-55D2-4D02-A2F0-E18C48A2ADA0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5409309" y="1265202"/>
            <a:ext cx="3190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5.9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893" name="Text Placeholder 2">
            <a:extLst>
              <a:ext uri="{FF2B5EF4-FFF2-40B4-BE49-F238E27FC236}">
                <a16:creationId xmlns:a16="http://schemas.microsoft.com/office/drawing/2014/main" id="{D00A499F-B174-4C43-B36C-B4E7F091697F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5910683" y="1268960"/>
            <a:ext cx="3190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5.7%</a:t>
            </a:r>
          </a:p>
        </p:txBody>
      </p:sp>
      <p:sp>
        <p:nvSpPr>
          <p:cNvPr id="904" name="Rectangle: Rounded Corners 903">
            <a:extLst>
              <a:ext uri="{FF2B5EF4-FFF2-40B4-BE49-F238E27FC236}">
                <a16:creationId xmlns:a16="http://schemas.microsoft.com/office/drawing/2014/main" id="{60478EE3-7C39-4ED4-9FC0-DB3A176D6E96}"/>
              </a:ext>
            </a:extLst>
          </p:cNvPr>
          <p:cNvSpPr/>
          <p:nvPr/>
        </p:nvSpPr>
        <p:spPr>
          <a:xfrm>
            <a:off x="4771308" y="2853328"/>
            <a:ext cx="2468900" cy="18717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B3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lation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B3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Key Commodities </a:t>
            </a:r>
          </a:p>
        </p:txBody>
      </p:sp>
      <p:sp>
        <p:nvSpPr>
          <p:cNvPr id="910" name="Rectangle 909">
            <a:extLst>
              <a:ext uri="{FF2B5EF4-FFF2-40B4-BE49-F238E27FC236}">
                <a16:creationId xmlns:a16="http://schemas.microsoft.com/office/drawing/2014/main" id="{CE2ABB30-0EC8-47FC-A898-45A4B0D2AE9C}"/>
              </a:ext>
            </a:extLst>
          </p:cNvPr>
          <p:cNvSpPr/>
          <p:nvPr/>
        </p:nvSpPr>
        <p:spPr>
          <a:xfrm>
            <a:off x="4752015" y="2536962"/>
            <a:ext cx="176334" cy="13652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11" name="Rectangle 910">
            <a:extLst>
              <a:ext uri="{FF2B5EF4-FFF2-40B4-BE49-F238E27FC236}">
                <a16:creationId xmlns:a16="http://schemas.microsoft.com/office/drawing/2014/main" id="{CDFC4EE0-BBDC-4F52-AB37-BCEA35A3CD59}"/>
              </a:ext>
            </a:extLst>
          </p:cNvPr>
          <p:cNvSpPr/>
          <p:nvPr/>
        </p:nvSpPr>
        <p:spPr>
          <a:xfrm>
            <a:off x="3902811" y="2537263"/>
            <a:ext cx="187216" cy="13781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12" name="TextBox 911">
            <a:extLst>
              <a:ext uri="{FF2B5EF4-FFF2-40B4-BE49-F238E27FC236}">
                <a16:creationId xmlns:a16="http://schemas.microsoft.com/office/drawing/2014/main" id="{ECD4901D-D6DC-4BAC-A1EF-9055CBC5CCCD}"/>
              </a:ext>
            </a:extLst>
          </p:cNvPr>
          <p:cNvSpPr txBox="1"/>
          <p:nvPr/>
        </p:nvSpPr>
        <p:spPr>
          <a:xfrm>
            <a:off x="4040182" y="2514737"/>
            <a:ext cx="613565" cy="16986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uals</a:t>
            </a:r>
          </a:p>
        </p:txBody>
      </p:sp>
      <p:sp>
        <p:nvSpPr>
          <p:cNvPr id="913" name="TextBox 912">
            <a:extLst>
              <a:ext uri="{FF2B5EF4-FFF2-40B4-BE49-F238E27FC236}">
                <a16:creationId xmlns:a16="http://schemas.microsoft.com/office/drawing/2014/main" id="{722F440D-A4FF-4CA1-8E41-B94D31995041}"/>
              </a:ext>
            </a:extLst>
          </p:cNvPr>
          <p:cNvSpPr txBox="1"/>
          <p:nvPr/>
        </p:nvSpPr>
        <p:spPr>
          <a:xfrm>
            <a:off x="4894264" y="2523227"/>
            <a:ext cx="774350" cy="13652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ions</a:t>
            </a:r>
          </a:p>
        </p:txBody>
      </p:sp>
      <p:sp>
        <p:nvSpPr>
          <p:cNvPr id="914" name="TextBox 913">
            <a:extLst>
              <a:ext uri="{FF2B5EF4-FFF2-40B4-BE49-F238E27FC236}">
                <a16:creationId xmlns:a16="http://schemas.microsoft.com/office/drawing/2014/main" id="{96D3F15A-EAD1-4C31-8E8C-3D581F230D24}"/>
              </a:ext>
            </a:extLst>
          </p:cNvPr>
          <p:cNvSpPr txBox="1"/>
          <p:nvPr/>
        </p:nvSpPr>
        <p:spPr>
          <a:xfrm>
            <a:off x="917372" y="2574760"/>
            <a:ext cx="766925" cy="22556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ource: RBI</a:t>
            </a:r>
          </a:p>
        </p:txBody>
      </p:sp>
      <p:sp>
        <p:nvSpPr>
          <p:cNvPr id="916" name="TextBox 915">
            <a:extLst>
              <a:ext uri="{FF2B5EF4-FFF2-40B4-BE49-F238E27FC236}">
                <a16:creationId xmlns:a16="http://schemas.microsoft.com/office/drawing/2014/main" id="{8DCE3C48-70BB-4D9E-9A90-A68085D15ABC}"/>
              </a:ext>
            </a:extLst>
          </p:cNvPr>
          <p:cNvSpPr txBox="1"/>
          <p:nvPr/>
        </p:nvSpPr>
        <p:spPr>
          <a:xfrm>
            <a:off x="10172186" y="4308551"/>
            <a:ext cx="889956" cy="1238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N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- Apr 2023</a:t>
            </a:r>
          </a:p>
        </p:txBody>
      </p:sp>
      <p:sp>
        <p:nvSpPr>
          <p:cNvPr id="917" name="TextBox 916">
            <a:extLst>
              <a:ext uri="{FF2B5EF4-FFF2-40B4-BE49-F238E27FC236}">
                <a16:creationId xmlns:a16="http://schemas.microsoft.com/office/drawing/2014/main" id="{FA897292-E1E4-4AF8-9523-A48FFF427DF5}"/>
              </a:ext>
            </a:extLst>
          </p:cNvPr>
          <p:cNvSpPr txBox="1"/>
          <p:nvPr/>
        </p:nvSpPr>
        <p:spPr>
          <a:xfrm>
            <a:off x="7844542" y="2554287"/>
            <a:ext cx="1219247" cy="37465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SPI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18" name="TextBox 917">
            <a:extLst>
              <a:ext uri="{FF2B5EF4-FFF2-40B4-BE49-F238E27FC236}">
                <a16:creationId xmlns:a16="http://schemas.microsoft.com/office/drawing/2014/main" id="{5FCC16DC-DAEC-446C-B019-3CE3C6B72DEC}"/>
              </a:ext>
            </a:extLst>
          </p:cNvPr>
          <p:cNvSpPr txBox="1"/>
          <p:nvPr/>
        </p:nvSpPr>
        <p:spPr>
          <a:xfrm>
            <a:off x="4587801" y="6142832"/>
            <a:ext cx="766925" cy="12858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RBI</a:t>
            </a:r>
          </a:p>
        </p:txBody>
      </p:sp>
      <p:sp>
        <p:nvSpPr>
          <p:cNvPr id="921" name="TextBox 920">
            <a:extLst>
              <a:ext uri="{FF2B5EF4-FFF2-40B4-BE49-F238E27FC236}">
                <a16:creationId xmlns:a16="http://schemas.microsoft.com/office/drawing/2014/main" id="{015D45C4-919D-48D3-8EE1-47B9BF2A44B0}"/>
              </a:ext>
            </a:extLst>
          </p:cNvPr>
          <p:cNvSpPr txBox="1"/>
          <p:nvPr/>
        </p:nvSpPr>
        <p:spPr>
          <a:xfrm>
            <a:off x="7847756" y="4321465"/>
            <a:ext cx="1219247" cy="37306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IHS Markit</a:t>
            </a:r>
          </a:p>
        </p:txBody>
      </p:sp>
      <p:graphicFrame>
        <p:nvGraphicFramePr>
          <p:cNvPr id="1018" name="Chart 1017">
            <a:extLst>
              <a:ext uri="{FF2B5EF4-FFF2-40B4-BE49-F238E27FC236}">
                <a16:creationId xmlns:a16="http://schemas.microsoft.com/office/drawing/2014/main" id="{8C0EE612-F093-823A-54F6-80487358EFD7}"/>
              </a:ext>
            </a:extLst>
          </p:cNvPr>
          <p:cNvGraphicFramePr/>
          <p:nvPr>
            <p:custDataLst>
              <p:tags r:id="rId47"/>
            </p:custDataLst>
          </p:nvPr>
        </p:nvGraphicFramePr>
        <p:xfrm>
          <a:off x="7878763" y="3108325"/>
          <a:ext cx="3011487" cy="927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sp>
        <p:nvSpPr>
          <p:cNvPr id="924" name="Text Placeholder 2">
            <a:extLst>
              <a:ext uri="{FF2B5EF4-FFF2-40B4-BE49-F238E27FC236}">
                <a16:creationId xmlns:a16="http://schemas.microsoft.com/office/drawing/2014/main" id="{9DA68DB4-A20F-4DEF-9CAE-595F947D93AE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735888" y="3889375"/>
            <a:ext cx="139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2BF5316-D356-48CD-8D43-BA10A2787225}" type="datetime'''''''''''''''''''50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7735888" y="3508376"/>
            <a:ext cx="139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3EED7DD-CF93-4D28-86FF-3CEF94DC47DC}" type="datetime'''''5''''''''''''5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5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7735888" y="3127376"/>
            <a:ext cx="139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8CB8A03-E28A-4D6F-9FEE-C382B2560210}" type="datetime'''''''''6''''''''''''''''''0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36" name="TextBox 935">
            <a:extLst>
              <a:ext uri="{FF2B5EF4-FFF2-40B4-BE49-F238E27FC236}">
                <a16:creationId xmlns:a16="http://schemas.microsoft.com/office/drawing/2014/main" id="{EA928D6D-202D-4170-9865-B05A6203581C}"/>
              </a:ext>
            </a:extLst>
          </p:cNvPr>
          <p:cNvSpPr txBox="1"/>
          <p:nvPr/>
        </p:nvSpPr>
        <p:spPr>
          <a:xfrm>
            <a:off x="945540" y="6165548"/>
            <a:ext cx="1219247" cy="1619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PIB</a:t>
            </a:r>
          </a:p>
        </p:txBody>
      </p:sp>
      <p:sp>
        <p:nvSpPr>
          <p:cNvPr id="937" name="TextBox 936">
            <a:extLst>
              <a:ext uri="{FF2B5EF4-FFF2-40B4-BE49-F238E27FC236}">
                <a16:creationId xmlns:a16="http://schemas.microsoft.com/office/drawing/2014/main" id="{F8001596-0C86-424A-A312-480ADC66F89E}"/>
              </a:ext>
            </a:extLst>
          </p:cNvPr>
          <p:cNvSpPr txBox="1"/>
          <p:nvPr/>
        </p:nvSpPr>
        <p:spPr>
          <a:xfrm>
            <a:off x="7912588" y="6124099"/>
            <a:ext cx="766925" cy="12858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RBI</a:t>
            </a:r>
          </a:p>
        </p:txBody>
      </p:sp>
      <p:sp>
        <p:nvSpPr>
          <p:cNvPr id="945" name="TextBox 944">
            <a:extLst>
              <a:ext uri="{FF2B5EF4-FFF2-40B4-BE49-F238E27FC236}">
                <a16:creationId xmlns:a16="http://schemas.microsoft.com/office/drawing/2014/main" id="{FAE8A526-557E-4DB1-891F-DB2F8D0CEDA1}"/>
              </a:ext>
            </a:extLst>
          </p:cNvPr>
          <p:cNvSpPr txBox="1"/>
          <p:nvPr/>
        </p:nvSpPr>
        <p:spPr>
          <a:xfrm>
            <a:off x="4512419" y="4251928"/>
            <a:ext cx="1219247" cy="15387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MOSPI, CMI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A3A0CF3-A5EF-EE53-2402-48077E0CF986}"/>
              </a:ext>
            </a:extLst>
          </p:cNvPr>
          <p:cNvCxnSpPr/>
          <p:nvPr/>
        </p:nvCxnSpPr>
        <p:spPr>
          <a:xfrm>
            <a:off x="4250025" y="1277666"/>
            <a:ext cx="0" cy="11334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668739F0-180E-D2DF-1F13-4435910DF8C4}"/>
              </a:ext>
            </a:extLst>
          </p:cNvPr>
          <p:cNvSpPr>
            <a:spLocks noGrp="1"/>
          </p:cNvSpPr>
          <p:nvPr/>
        </p:nvSpPr>
        <p:spPr bwMode="gray">
          <a:xfrm>
            <a:off x="8762381" y="1464896"/>
            <a:ext cx="384131" cy="208622"/>
          </a:xfrm>
          <a:prstGeom prst="ellipse">
            <a:avLst/>
          </a:prstGeom>
          <a:solidFill>
            <a:srgbClr val="1E50A0"/>
          </a:solidFill>
          <a:ln w="9525" algn="ctr">
            <a:solidFill>
              <a:srgbClr val="808080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5.6</a:t>
            </a: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94BD69E-2329-4E2E-A95B-A57112578BF1}"/>
              </a:ext>
            </a:extLst>
          </p:cNvPr>
          <p:cNvSpPr>
            <a:spLocks noGrp="1"/>
          </p:cNvSpPr>
          <p:nvPr/>
        </p:nvSpPr>
        <p:spPr bwMode="gray">
          <a:xfrm>
            <a:off x="9854167" y="1361986"/>
            <a:ext cx="319088" cy="207221"/>
          </a:xfrm>
          <a:prstGeom prst="ellipse">
            <a:avLst/>
          </a:prstGeom>
          <a:solidFill>
            <a:srgbClr val="1E50A0"/>
          </a:solidFill>
          <a:ln w="9525" algn="ctr">
            <a:solidFill>
              <a:srgbClr val="808080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4.5</a:t>
            </a: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3F47AB1-1F69-C385-F90D-19FE62F46AEA}"/>
              </a:ext>
            </a:extLst>
          </p:cNvPr>
          <p:cNvSpPr>
            <a:spLocks noGrp="1"/>
          </p:cNvSpPr>
          <p:nvPr/>
        </p:nvSpPr>
        <p:spPr bwMode="gray">
          <a:xfrm>
            <a:off x="10382250" y="1224240"/>
            <a:ext cx="319088" cy="193675"/>
          </a:xfrm>
          <a:prstGeom prst="ellipse">
            <a:avLst/>
          </a:prstGeom>
          <a:solidFill>
            <a:srgbClr val="1E50A0"/>
          </a:solidFill>
          <a:ln w="9525" algn="ctr">
            <a:solidFill>
              <a:srgbClr val="808080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5.2%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DAF0B740-C181-CD8F-90EA-37AB5C499D9B}"/>
              </a:ext>
            </a:extLst>
          </p:cNvPr>
          <p:cNvGraphicFramePr/>
          <p:nvPr/>
        </p:nvGraphicFramePr>
        <p:xfrm>
          <a:off x="624300" y="5110709"/>
          <a:ext cx="3611741" cy="10435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1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B77BF073-612D-07CE-B9C1-4E756425FCF6}"/>
              </a:ext>
            </a:extLst>
          </p:cNvPr>
          <p:cNvSpPr txBox="1"/>
          <p:nvPr/>
        </p:nvSpPr>
        <p:spPr>
          <a:xfrm>
            <a:off x="3508277" y="6170804"/>
            <a:ext cx="1219247" cy="1619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 Billion $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9FD74C4-742A-87F1-7544-F595F2C16A14}"/>
              </a:ext>
            </a:extLst>
          </p:cNvPr>
          <p:cNvSpPr/>
          <p:nvPr/>
        </p:nvSpPr>
        <p:spPr bwMode="gray">
          <a:xfrm>
            <a:off x="2558898" y="6176754"/>
            <a:ext cx="125260" cy="10367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477B7AF-4EED-2C64-A795-F9A58104A851}"/>
              </a:ext>
            </a:extLst>
          </p:cNvPr>
          <p:cNvSpPr/>
          <p:nvPr/>
        </p:nvSpPr>
        <p:spPr bwMode="gray">
          <a:xfrm>
            <a:off x="1880809" y="6174974"/>
            <a:ext cx="125260" cy="107673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9D7B0D1-DAD1-9EA5-47D7-E5032A2D928C}"/>
              </a:ext>
            </a:extLst>
          </p:cNvPr>
          <p:cNvSpPr>
            <a:spLocks noGrp="1"/>
          </p:cNvSpPr>
          <p:nvPr/>
        </p:nvSpPr>
        <p:spPr bwMode="gray">
          <a:xfrm>
            <a:off x="2079300" y="6170463"/>
            <a:ext cx="3921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Export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78B7A92-DE9E-A1D3-2B83-08A1142F1C03}"/>
              </a:ext>
            </a:extLst>
          </p:cNvPr>
          <p:cNvSpPr>
            <a:spLocks noGrp="1"/>
          </p:cNvSpPr>
          <p:nvPr/>
        </p:nvSpPr>
        <p:spPr bwMode="gray">
          <a:xfrm>
            <a:off x="2760412" y="6172714"/>
            <a:ext cx="225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Import</a:t>
            </a: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 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9FFDD9E-55B6-290C-110F-BC0C885C92FC}"/>
              </a:ext>
            </a:extLst>
          </p:cNvPr>
          <p:cNvSpPr>
            <a:spLocks noGrp="1"/>
          </p:cNvSpPr>
          <p:nvPr/>
        </p:nvSpPr>
        <p:spPr bwMode="gray">
          <a:xfrm>
            <a:off x="1262087" y="4806838"/>
            <a:ext cx="437004" cy="185577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rgbClr val="808080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-0.48%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F32C1EC7-D189-4EAD-83A0-26FDB4F9D529}"/>
              </a:ext>
            </a:extLst>
          </p:cNvPr>
          <p:cNvSpPr>
            <a:spLocks noGrp="1"/>
          </p:cNvSpPr>
          <p:nvPr/>
        </p:nvSpPr>
        <p:spPr bwMode="gray">
          <a:xfrm>
            <a:off x="1848987" y="4811779"/>
            <a:ext cx="432321" cy="180635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rgbClr val="808080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-4.76%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0D2BDF45-4A26-952D-891A-345A284B5959}"/>
              </a:ext>
            </a:extLst>
          </p:cNvPr>
          <p:cNvSpPr>
            <a:spLocks noGrp="1"/>
          </p:cNvSpPr>
          <p:nvPr/>
        </p:nvSpPr>
        <p:spPr bwMode="gray">
          <a:xfrm>
            <a:off x="2390170" y="4799365"/>
            <a:ext cx="432321" cy="193051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rgbClr val="808080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-4.88%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5EC099E5-3A92-3362-EF31-DBB8A6A055C6}"/>
              </a:ext>
            </a:extLst>
          </p:cNvPr>
          <p:cNvSpPr>
            <a:spLocks noGrp="1"/>
          </p:cNvSpPr>
          <p:nvPr/>
        </p:nvSpPr>
        <p:spPr bwMode="gray">
          <a:xfrm>
            <a:off x="2941787" y="4806839"/>
            <a:ext cx="405078" cy="186136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rgbClr val="808080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-13.62%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5BBEF5BA-5C6F-3393-922E-9F5C60F7F126}"/>
              </a:ext>
            </a:extLst>
          </p:cNvPr>
          <p:cNvSpPr>
            <a:spLocks noGrp="1"/>
          </p:cNvSpPr>
          <p:nvPr/>
        </p:nvSpPr>
        <p:spPr bwMode="gray">
          <a:xfrm>
            <a:off x="3513570" y="4807558"/>
            <a:ext cx="405078" cy="204928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rgbClr val="808080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-6.70%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48A8BAB5-8D58-DB3E-02B3-D622BB24984D}"/>
              </a:ext>
            </a:extLst>
          </p:cNvPr>
          <p:cNvSpPr>
            <a:spLocks noGrp="1"/>
          </p:cNvSpPr>
          <p:nvPr/>
        </p:nvSpPr>
        <p:spPr bwMode="gray">
          <a:xfrm>
            <a:off x="1253047" y="5072746"/>
            <a:ext cx="432321" cy="204928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rgbClr val="808080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1.56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0EA0560-62DA-DB08-F3A3-A894B59C3D91}"/>
              </a:ext>
            </a:extLst>
          </p:cNvPr>
          <p:cNvSpPr>
            <a:spLocks noGrp="1"/>
          </p:cNvSpPr>
          <p:nvPr/>
        </p:nvSpPr>
        <p:spPr bwMode="gray">
          <a:xfrm>
            <a:off x="1839947" y="5077688"/>
            <a:ext cx="432321" cy="193050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rgbClr val="808080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-0.42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EB4615E5-0C10-7D5E-1E81-D8E0D2585068}"/>
              </a:ext>
            </a:extLst>
          </p:cNvPr>
          <p:cNvSpPr>
            <a:spLocks noGrp="1"/>
          </p:cNvSpPr>
          <p:nvPr/>
        </p:nvSpPr>
        <p:spPr bwMode="gray">
          <a:xfrm>
            <a:off x="2381130" y="5065273"/>
            <a:ext cx="480728" cy="204928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rgbClr val="808080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-6%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938" name="Text Placeholder 2">
            <a:extLst>
              <a:ext uri="{FF2B5EF4-FFF2-40B4-BE49-F238E27FC236}">
                <a16:creationId xmlns:a16="http://schemas.microsoft.com/office/drawing/2014/main" id="{0CABC61D-5EB8-40C2-5DA1-F6832FF0BBD3}"/>
              </a:ext>
            </a:extLst>
          </p:cNvPr>
          <p:cNvSpPr>
            <a:spLocks noGrp="1"/>
          </p:cNvSpPr>
          <p:nvPr/>
        </p:nvSpPr>
        <p:spPr bwMode="gray">
          <a:xfrm>
            <a:off x="2932747" y="5072747"/>
            <a:ext cx="405078" cy="186136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rgbClr val="808080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-12.6%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939" name="Text Placeholder 2">
            <a:extLst>
              <a:ext uri="{FF2B5EF4-FFF2-40B4-BE49-F238E27FC236}">
                <a16:creationId xmlns:a16="http://schemas.microsoft.com/office/drawing/2014/main" id="{90DF1CF5-9E72-37F1-D9CA-EF7FD4CA84A1}"/>
              </a:ext>
            </a:extLst>
          </p:cNvPr>
          <p:cNvSpPr>
            <a:spLocks noGrp="1"/>
          </p:cNvSpPr>
          <p:nvPr/>
        </p:nvSpPr>
        <p:spPr bwMode="gray">
          <a:xfrm>
            <a:off x="3504530" y="5073466"/>
            <a:ext cx="405078" cy="204928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rgbClr val="808080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-10.11%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8DB8F4A-24E2-E830-1F09-3590BF4CC6BC}"/>
              </a:ext>
            </a:extLst>
          </p:cNvPr>
          <p:cNvSpPr txBox="1"/>
          <p:nvPr/>
        </p:nvSpPr>
        <p:spPr>
          <a:xfrm>
            <a:off x="601101" y="4897812"/>
            <a:ext cx="572317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Growth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FC1BF0-67FC-3F38-B769-1B04CD875404}"/>
              </a:ext>
            </a:extLst>
          </p:cNvPr>
          <p:cNvSpPr txBox="1"/>
          <p:nvPr/>
        </p:nvSpPr>
        <p:spPr>
          <a:xfrm>
            <a:off x="9582150" y="6120456"/>
            <a:ext cx="1219247" cy="37306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 As on 21 Jul , 2023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5743FB4-6784-A23C-3ACB-E46F7C53FC69}"/>
              </a:ext>
            </a:extLst>
          </p:cNvPr>
          <p:cNvSpPr txBox="1"/>
          <p:nvPr/>
        </p:nvSpPr>
        <p:spPr>
          <a:xfrm>
            <a:off x="10011830" y="2605238"/>
            <a:ext cx="965269" cy="13335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Jan -May 2023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C362309-97DB-42A8-B0E3-15DD133BA745}"/>
              </a:ext>
            </a:extLst>
          </p:cNvPr>
          <p:cNvSpPr>
            <a:spLocks noGrp="1"/>
          </p:cNvSpPr>
          <p:nvPr/>
        </p:nvSpPr>
        <p:spPr bwMode="gray">
          <a:xfrm>
            <a:off x="5513295" y="2399056"/>
            <a:ext cx="552450" cy="950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FY24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526E92C-3060-C083-3031-841277E8F806}"/>
              </a:ext>
            </a:extLst>
          </p:cNvPr>
          <p:cNvSpPr txBox="1"/>
          <p:nvPr/>
        </p:nvSpPr>
        <p:spPr>
          <a:xfrm>
            <a:off x="3275510" y="4242221"/>
            <a:ext cx="965269" cy="13335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Feb - Jun 2023</a:t>
            </a:r>
          </a:p>
        </p:txBody>
      </p:sp>
      <p:sp>
        <p:nvSpPr>
          <p:cNvPr id="930" name="Text Placeholder 2">
            <a:extLst>
              <a:ext uri="{FF2B5EF4-FFF2-40B4-BE49-F238E27FC236}">
                <a16:creationId xmlns:a16="http://schemas.microsoft.com/office/drawing/2014/main" id="{42BFF911-B37E-F70E-2F82-BBAD37D31176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3610882" y="4056957"/>
            <a:ext cx="2365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Jun</a:t>
            </a:r>
          </a:p>
        </p:txBody>
      </p:sp>
      <p:sp>
        <p:nvSpPr>
          <p:cNvPr id="934" name="TextBox 933">
            <a:extLst>
              <a:ext uri="{FF2B5EF4-FFF2-40B4-BE49-F238E27FC236}">
                <a16:creationId xmlns:a16="http://schemas.microsoft.com/office/drawing/2014/main" id="{8C7BFAF4-3C87-61E8-6D7F-F0997006B51B}"/>
              </a:ext>
            </a:extLst>
          </p:cNvPr>
          <p:cNvSpPr txBox="1"/>
          <p:nvPr/>
        </p:nvSpPr>
        <p:spPr>
          <a:xfrm>
            <a:off x="3478912" y="4657341"/>
            <a:ext cx="659958" cy="12311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Y-o-Y in %)</a:t>
            </a:r>
          </a:p>
        </p:txBody>
      </p:sp>
      <p:sp>
        <p:nvSpPr>
          <p:cNvPr id="935" name="Rectangle 934">
            <a:extLst>
              <a:ext uri="{FF2B5EF4-FFF2-40B4-BE49-F238E27FC236}">
                <a16:creationId xmlns:a16="http://schemas.microsoft.com/office/drawing/2014/main" id="{4457490E-E659-F304-E05D-33F649B21499}"/>
              </a:ext>
            </a:extLst>
          </p:cNvPr>
          <p:cNvSpPr/>
          <p:nvPr/>
        </p:nvSpPr>
        <p:spPr bwMode="gray">
          <a:xfrm>
            <a:off x="6247984" y="3486296"/>
            <a:ext cx="127285" cy="85754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41" name="Text Placeholder 2">
            <a:extLst>
              <a:ext uri="{FF2B5EF4-FFF2-40B4-BE49-F238E27FC236}">
                <a16:creationId xmlns:a16="http://schemas.microsoft.com/office/drawing/2014/main" id="{8C86D4FB-241E-3F2B-20BF-580855CA7CFB}"/>
              </a:ext>
            </a:extLst>
          </p:cNvPr>
          <p:cNvSpPr>
            <a:spLocks noGrp="1"/>
          </p:cNvSpPr>
          <p:nvPr/>
        </p:nvSpPr>
        <p:spPr bwMode="gray">
          <a:xfrm>
            <a:off x="2941787" y="1370013"/>
            <a:ext cx="34558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7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946" name="Text Placeholder 2">
            <a:extLst>
              <a:ext uri="{FF2B5EF4-FFF2-40B4-BE49-F238E27FC236}">
                <a16:creationId xmlns:a16="http://schemas.microsoft.com/office/drawing/2014/main" id="{8B1326DC-8177-A942-A229-FD29E8D66728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6427763" y="1320800"/>
            <a:ext cx="3190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+mn-lt"/>
              </a:rPr>
              <a:t>5.5%</a:t>
            </a:r>
          </a:p>
        </p:txBody>
      </p:sp>
      <p:sp>
        <p:nvSpPr>
          <p:cNvPr id="898" name="Rectangle 897">
            <a:extLst>
              <a:ext uri="{FF2B5EF4-FFF2-40B4-BE49-F238E27FC236}">
                <a16:creationId xmlns:a16="http://schemas.microsoft.com/office/drawing/2014/main" id="{8F497C2A-2071-6A64-227C-C895F30C2EA1}"/>
              </a:ext>
            </a:extLst>
          </p:cNvPr>
          <p:cNvSpPr/>
          <p:nvPr/>
        </p:nvSpPr>
        <p:spPr bwMode="gray">
          <a:xfrm>
            <a:off x="5977176" y="3783954"/>
            <a:ext cx="403548" cy="85754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99" name="Rectangle 898">
            <a:extLst>
              <a:ext uri="{FF2B5EF4-FFF2-40B4-BE49-F238E27FC236}">
                <a16:creationId xmlns:a16="http://schemas.microsoft.com/office/drawing/2014/main" id="{1388EB6C-79E0-97D5-3865-AF0BDFE86D33}"/>
              </a:ext>
            </a:extLst>
          </p:cNvPr>
          <p:cNvSpPr/>
          <p:nvPr/>
        </p:nvSpPr>
        <p:spPr bwMode="gray">
          <a:xfrm>
            <a:off x="6038694" y="3696889"/>
            <a:ext cx="340418" cy="85754"/>
          </a:xfrm>
          <a:prstGeom prst="rect">
            <a:avLst/>
          </a:prstGeom>
          <a:solidFill>
            <a:srgbClr val="DAE6F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00" name="Rectangle 899">
            <a:extLst>
              <a:ext uri="{FF2B5EF4-FFF2-40B4-BE49-F238E27FC236}">
                <a16:creationId xmlns:a16="http://schemas.microsoft.com/office/drawing/2014/main" id="{EEEF43FC-E68B-8122-22DE-CB296E356E5D}"/>
              </a:ext>
            </a:extLst>
          </p:cNvPr>
          <p:cNvSpPr/>
          <p:nvPr/>
        </p:nvSpPr>
        <p:spPr bwMode="gray">
          <a:xfrm>
            <a:off x="5900580" y="3982125"/>
            <a:ext cx="469926" cy="85754"/>
          </a:xfrm>
          <a:prstGeom prst="rect">
            <a:avLst/>
          </a:prstGeom>
          <a:solidFill>
            <a:srgbClr val="DAE6F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01" name="Rectangle 900">
            <a:extLst>
              <a:ext uri="{FF2B5EF4-FFF2-40B4-BE49-F238E27FC236}">
                <a16:creationId xmlns:a16="http://schemas.microsoft.com/office/drawing/2014/main" id="{CAA83939-4B9A-BB5E-317D-D4A738FD7470}"/>
              </a:ext>
            </a:extLst>
          </p:cNvPr>
          <p:cNvSpPr/>
          <p:nvPr/>
        </p:nvSpPr>
        <p:spPr bwMode="gray">
          <a:xfrm>
            <a:off x="5808967" y="4070435"/>
            <a:ext cx="578681" cy="85754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6" name="TextBox 1015">
            <a:extLst>
              <a:ext uri="{FF2B5EF4-FFF2-40B4-BE49-F238E27FC236}">
                <a16:creationId xmlns:a16="http://schemas.microsoft.com/office/drawing/2014/main" id="{080150DB-D2BC-5C73-A967-13A426634309}"/>
              </a:ext>
            </a:extLst>
          </p:cNvPr>
          <p:cNvSpPr txBox="1"/>
          <p:nvPr/>
        </p:nvSpPr>
        <p:spPr>
          <a:xfrm>
            <a:off x="7907825" y="3950313"/>
            <a:ext cx="295999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v</a:t>
            </a:r>
            <a:r>
              <a: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</a:t>
            </a:r>
            <a:r>
              <a: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ec</a:t>
            </a:r>
            <a:r>
              <a: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</a:t>
            </a:r>
            <a:r>
              <a: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Jan</a:t>
            </a:r>
            <a:r>
              <a: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</a:t>
            </a:r>
            <a:r>
              <a: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eb</a:t>
            </a:r>
            <a:r>
              <a: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</a:t>
            </a:r>
            <a:r>
              <a: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ar</a:t>
            </a:r>
            <a:r>
              <a: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</a:t>
            </a:r>
            <a:r>
              <a: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pr</a:t>
            </a:r>
            <a:r>
              <a:rPr kumimoji="0" lang="en-IN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3F73E8E8-2AD0-1608-1380-373CA6E3DBC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64680490"/>
              </p:ext>
            </p:extLst>
          </p:nvPr>
        </p:nvGraphicFramePr>
        <p:xfrm>
          <a:off x="827617" y="3015709"/>
          <a:ext cx="3270658" cy="1079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2"/>
          </a:graphicData>
        </a:graphic>
      </p:graphicFrame>
    </p:spTree>
    <p:extLst>
      <p:ext uri="{BB962C8B-B14F-4D97-AF65-F5344CB8AC3E}">
        <p14:creationId xmlns:p14="http://schemas.microsoft.com/office/powerpoint/2010/main" val="22080904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1A91719-B113-E44E-8619-DE7C87358A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75670" y="2394732"/>
            <a:ext cx="6731363" cy="1019331"/>
          </a:xfrm>
        </p:spPr>
        <p:txBody>
          <a:bodyPr>
            <a:norm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3600" b="1" spc="-10" dirty="0">
                <a:solidFill>
                  <a:srgbClr val="1F2941"/>
                </a:solidFill>
                <a:latin typeface="Arial"/>
                <a:cs typeface="Arial"/>
              </a:rPr>
              <a:t>Quarterly Sales Data</a:t>
            </a:r>
            <a:endParaRPr lang="en-US" sz="3600" dirty="0">
              <a:latin typeface="Arial"/>
              <a:cs typeface="Arial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2D9083E-CE68-3C4D-852F-E7F1E9EC9F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5183" y="3298750"/>
            <a:ext cx="6731363" cy="555416"/>
          </a:xfrm>
        </p:spPr>
        <p:txBody>
          <a:bodyPr>
            <a:normAutofit/>
          </a:bodyPr>
          <a:lstStyle/>
          <a:p>
            <a:r>
              <a:rPr lang="en-US" sz="2400" b="1" spc="-10" dirty="0">
                <a:solidFill>
                  <a:srgbClr val="1F2941"/>
                </a:solidFill>
                <a:latin typeface="Arial"/>
                <a:cs typeface="Arial"/>
              </a:rPr>
              <a:t>Q1 FY24</a:t>
            </a:r>
            <a:endParaRPr lang="en-US" sz="2400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ADAA666-13B8-4658-9B31-30416B7B013C}"/>
              </a:ext>
            </a:extLst>
          </p:cNvPr>
          <p:cNvCxnSpPr/>
          <p:nvPr/>
        </p:nvCxnSpPr>
        <p:spPr>
          <a:xfrm>
            <a:off x="894939" y="3140765"/>
            <a:ext cx="4803495" cy="0"/>
          </a:xfrm>
          <a:prstGeom prst="line">
            <a:avLst/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48995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Object 107" hidden="1">
            <a:extLst>
              <a:ext uri="{FF2B5EF4-FFF2-40B4-BE49-F238E27FC236}">
                <a16:creationId xmlns:a16="http://schemas.microsoft.com/office/drawing/2014/main" id="{0D2EC870-247B-4A34-BB53-00FE208689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1495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2" imgW="395" imgH="394" progId="TCLayout.ActiveDocument.1">
                  <p:embed/>
                </p:oleObj>
              </mc:Choice>
              <mc:Fallback>
                <p:oleObj name="think-cell Slide" r:id="rId132" imgW="395" imgH="394" progId="TCLayout.ActiveDocument.1">
                  <p:embed/>
                  <p:pic>
                    <p:nvPicPr>
                      <p:cNvPr id="108" name="Object 107" hidden="1">
                        <a:extLst>
                          <a:ext uri="{FF2B5EF4-FFF2-40B4-BE49-F238E27FC236}">
                            <a16:creationId xmlns:a16="http://schemas.microsoft.com/office/drawing/2014/main" id="{0D2EC870-247B-4A34-BB53-00FE208689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B86E-EDE3-4634-B0B5-516E1D6241E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BBC4F53-FDE5-4CB5-B03C-D0AC408B33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827" y="200303"/>
            <a:ext cx="11794709" cy="332399"/>
          </a:xfrm>
        </p:spPr>
        <p:txBody>
          <a:bodyPr vert="horz"/>
          <a:lstStyle/>
          <a:p>
            <a:r>
              <a:rPr lang="en-US" sz="2400" dirty="0">
                <a:solidFill>
                  <a:schemeClr val="bg1"/>
                </a:solidFill>
                <a:latin typeface="+mn-lt"/>
              </a:rPr>
              <a:t>Industry Performance for Q1 FY 2024 (Apr-Jun) compared to previous year same quarters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8CFE03-43BE-4DD4-9521-D81267300EB9}"/>
              </a:ext>
            </a:extLst>
          </p:cNvPr>
          <p:cNvSpPr/>
          <p:nvPr/>
        </p:nvSpPr>
        <p:spPr>
          <a:xfrm>
            <a:off x="629325" y="1726882"/>
            <a:ext cx="35712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5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Quarterly sales across all equipment categories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FCE0EA7F-61B7-4D62-8515-B7BDF16235A3}"/>
              </a:ext>
            </a:extLst>
          </p:cNvPr>
          <p:cNvGrpSpPr/>
          <p:nvPr/>
        </p:nvGrpSpPr>
        <p:grpSpPr>
          <a:xfrm>
            <a:off x="4194004" y="1177609"/>
            <a:ext cx="306171" cy="5148754"/>
            <a:chOff x="4194004" y="1177609"/>
            <a:chExt cx="306171" cy="5148754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C071481-7A66-42FE-9D9A-EAAAD24E10FF}"/>
                </a:ext>
              </a:extLst>
            </p:cNvPr>
            <p:cNvCxnSpPr/>
            <p:nvPr/>
          </p:nvCxnSpPr>
          <p:spPr>
            <a:xfrm>
              <a:off x="4347090" y="1177609"/>
              <a:ext cx="0" cy="5148754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08F6007F-532C-490F-9104-BB80A64D21EE}"/>
                </a:ext>
              </a:extLst>
            </p:cNvPr>
            <p:cNvGrpSpPr/>
            <p:nvPr/>
          </p:nvGrpSpPr>
          <p:grpSpPr>
            <a:xfrm>
              <a:off x="4194004" y="3598531"/>
              <a:ext cx="306171" cy="306910"/>
              <a:chOff x="5937564" y="3833745"/>
              <a:chExt cx="306171" cy="306910"/>
            </a:xfrm>
          </p:grpSpPr>
          <p:sp>
            <p:nvSpPr>
              <p:cNvPr id="22" name="Freeform 94">
                <a:extLst>
                  <a:ext uri="{FF2B5EF4-FFF2-40B4-BE49-F238E27FC236}">
                    <a16:creationId xmlns:a16="http://schemas.microsoft.com/office/drawing/2014/main" id="{DACF5742-62C9-43E1-BCE7-AC2200CF972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" name="Freeform 95">
                <a:extLst>
                  <a:ext uri="{FF2B5EF4-FFF2-40B4-BE49-F238E27FC236}">
                    <a16:creationId xmlns:a16="http://schemas.microsoft.com/office/drawing/2014/main" id="{D4DD1921-45E0-4FCE-8C61-D5E21F6A3F1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48C6B6A-EE22-475E-BEE7-006FDCCB6AE1}"/>
              </a:ext>
            </a:extLst>
          </p:cNvPr>
          <p:cNvCxnSpPr/>
          <p:nvPr/>
        </p:nvCxnSpPr>
        <p:spPr>
          <a:xfrm>
            <a:off x="4708525" y="2866449"/>
            <a:ext cx="6854825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07E00DD-660D-4E35-B5B8-6A0468A23351}"/>
              </a:ext>
            </a:extLst>
          </p:cNvPr>
          <p:cNvCxnSpPr/>
          <p:nvPr/>
        </p:nvCxnSpPr>
        <p:spPr>
          <a:xfrm>
            <a:off x="4708525" y="4709444"/>
            <a:ext cx="6854825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5B5D043-044D-4ED3-949B-6B38C5EF27ED}"/>
              </a:ext>
            </a:extLst>
          </p:cNvPr>
          <p:cNvCxnSpPr>
            <a:cxnSpLocks/>
          </p:cNvCxnSpPr>
          <p:nvPr/>
        </p:nvCxnSpPr>
        <p:spPr>
          <a:xfrm flipV="1">
            <a:off x="8078788" y="2948687"/>
            <a:ext cx="0" cy="1606601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96">
            <a:extLst>
              <a:ext uri="{FF2B5EF4-FFF2-40B4-BE49-F238E27FC236}">
                <a16:creationId xmlns:a16="http://schemas.microsoft.com/office/drawing/2014/main" id="{740779A1-E91B-4C88-8D76-42A836C567A0}"/>
              </a:ext>
            </a:extLst>
          </p:cNvPr>
          <p:cNvSpPr/>
          <p:nvPr/>
        </p:nvSpPr>
        <p:spPr>
          <a:xfrm>
            <a:off x="4708525" y="1177610"/>
            <a:ext cx="468313" cy="1606601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CCAD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5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arthmoving Equipment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FBDAA5CA-BD2B-4992-A285-EA3B4B79B1C4}"/>
              </a:ext>
            </a:extLst>
          </p:cNvPr>
          <p:cNvSpPr/>
          <p:nvPr/>
        </p:nvSpPr>
        <p:spPr>
          <a:xfrm>
            <a:off x="4708525" y="3033713"/>
            <a:ext cx="461963" cy="1606550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CCAD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5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ad Construction Equipment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06DF792B-E74A-4428-8B11-B1455F114A91}"/>
              </a:ext>
            </a:extLst>
          </p:cNvPr>
          <p:cNvSpPr/>
          <p:nvPr/>
        </p:nvSpPr>
        <p:spPr>
          <a:xfrm>
            <a:off x="6092825" y="4781407"/>
            <a:ext cx="468313" cy="1606601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CCAD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5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crete Equipment</a:t>
            </a:r>
          </a:p>
        </p:txBody>
      </p:sp>
      <p:sp>
        <p:nvSpPr>
          <p:cNvPr id="110" name="ee4pFootnotes">
            <a:extLst>
              <a:ext uri="{FF2B5EF4-FFF2-40B4-BE49-F238E27FC236}">
                <a16:creationId xmlns:a16="http://schemas.microsoft.com/office/drawing/2014/main" id="{71513EC0-54C9-4551-B302-183E50F10C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4049" y="6451069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Source: ICEMA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37F7995A-D56D-4A57-83CB-5A42FE74854E}"/>
              </a:ext>
            </a:extLst>
          </p:cNvPr>
          <p:cNvSpPr/>
          <p:nvPr/>
        </p:nvSpPr>
        <p:spPr>
          <a:xfrm>
            <a:off x="8234363" y="1177610"/>
            <a:ext cx="468313" cy="1606601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CCAD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5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terial Handling Equipment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8196DE5D-59D3-424E-A64A-71CDDD677ABB}"/>
              </a:ext>
            </a:extLst>
          </p:cNvPr>
          <p:cNvSpPr/>
          <p:nvPr/>
        </p:nvSpPr>
        <p:spPr>
          <a:xfrm>
            <a:off x="8237538" y="3033713"/>
            <a:ext cx="461963" cy="1606550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CCAD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5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terial Processing Equipment</a:t>
            </a:r>
          </a:p>
        </p:txBody>
      </p: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3DF2CCE8-C531-4537-B2DD-2C5117B2B65F}"/>
              </a:ext>
            </a:extLst>
          </p:cNvPr>
          <p:cNvCxnSpPr>
            <a:cxnSpLocks/>
          </p:cNvCxnSpPr>
          <p:nvPr/>
        </p:nvCxnSpPr>
        <p:spPr>
          <a:xfrm flipV="1">
            <a:off x="8078788" y="1177610"/>
            <a:ext cx="0" cy="1606601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 hidden="1">
            <a:extLst>
              <a:ext uri="{FF2B5EF4-FFF2-40B4-BE49-F238E27FC236}">
                <a16:creationId xmlns:a16="http://schemas.microsoft.com/office/drawing/2014/main" id="{8774DFAE-38E3-49A3-9DA0-FCE431FBCCE1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65" name="Rectangle 164" hidden="1">
            <a:extLst>
              <a:ext uri="{FF2B5EF4-FFF2-40B4-BE49-F238E27FC236}">
                <a16:creationId xmlns:a16="http://schemas.microsoft.com/office/drawing/2014/main" id="{C6161148-50E2-4E34-89A8-27C0C2FF874D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37" name="Rectangle 236" hidden="1">
            <a:extLst>
              <a:ext uri="{FF2B5EF4-FFF2-40B4-BE49-F238E27FC236}">
                <a16:creationId xmlns:a16="http://schemas.microsoft.com/office/drawing/2014/main" id="{5F434D3E-93CC-4981-BF0F-15CC7F69C4B7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+mn-lt"/>
            </a:endParaRPr>
          </a:p>
        </p:txBody>
      </p:sp>
      <p:graphicFrame>
        <p:nvGraphicFramePr>
          <p:cNvPr id="72" name="Chart 71">
            <a:extLst>
              <a:ext uri="{FF2B5EF4-FFF2-40B4-BE49-F238E27FC236}">
                <a16:creationId xmlns:a16="http://schemas.microsoft.com/office/drawing/2014/main" id="{7DFB7B56-E5EA-10D3-C793-8C49433A2C8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06086015"/>
              </p:ext>
            </p:extLst>
          </p:nvPr>
        </p:nvGraphicFramePr>
        <p:xfrm>
          <a:off x="5124450" y="1798638"/>
          <a:ext cx="2935288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4"/>
          </a:graphicData>
        </a:graphic>
      </p:graphicFrame>
      <p:cxnSp>
        <p:nvCxnSpPr>
          <p:cNvPr id="250" name="Straight Connector 249">
            <a:extLst>
              <a:ext uri="{FF2B5EF4-FFF2-40B4-BE49-F238E27FC236}">
                <a16:creationId xmlns:a16="http://schemas.microsoft.com/office/drawing/2014/main" id="{4A6222D4-86FF-444E-A36C-A59704D3E8C9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 flipV="1">
            <a:off x="5668963" y="1130299"/>
            <a:ext cx="0" cy="73818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1" name="Straight Connector 250">
            <a:extLst>
              <a:ext uri="{FF2B5EF4-FFF2-40B4-BE49-F238E27FC236}">
                <a16:creationId xmlns:a16="http://schemas.microsoft.com/office/drawing/2014/main" id="{ADF52E6A-A973-49E0-B826-53EA1FE9F227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5668963" y="1130300"/>
            <a:ext cx="74612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9" name="Straight Connector 248">
            <a:extLst>
              <a:ext uri="{FF2B5EF4-FFF2-40B4-BE49-F238E27FC236}">
                <a16:creationId xmlns:a16="http://schemas.microsoft.com/office/drawing/2014/main" id="{5CFFBB6D-7349-46A2-B774-39354D1DBF3C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6807200" y="1130300"/>
            <a:ext cx="74612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3227C720-E207-4FF4-BCFF-BCE71943041D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7553325" y="1130299"/>
            <a:ext cx="0" cy="46355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3" name="Straight Connector 252">
            <a:extLst>
              <a:ext uri="{FF2B5EF4-FFF2-40B4-BE49-F238E27FC236}">
                <a16:creationId xmlns:a16="http://schemas.microsoft.com/office/drawing/2014/main" id="{698DA946-B797-4D11-BDDE-D984573BD59E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 flipV="1">
            <a:off x="7477125" y="1441450"/>
            <a:ext cx="0" cy="15240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4" name="Straight Connector 253">
            <a:extLst>
              <a:ext uri="{FF2B5EF4-FFF2-40B4-BE49-F238E27FC236}">
                <a16:creationId xmlns:a16="http://schemas.microsoft.com/office/drawing/2014/main" id="{D3264AE8-03D2-4D46-920D-E8C5E3A0BED7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gray">
          <a:xfrm flipH="1">
            <a:off x="7231064" y="1441450"/>
            <a:ext cx="246063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5" name="Straight Connector 254">
            <a:extLst>
              <a:ext uri="{FF2B5EF4-FFF2-40B4-BE49-F238E27FC236}">
                <a16:creationId xmlns:a16="http://schemas.microsoft.com/office/drawing/2014/main" id="{126DE98F-98F2-4478-ADC2-D3EFC7520758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 flipH="1">
            <a:off x="6591300" y="1441450"/>
            <a:ext cx="247650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6" name="Straight Connector 255">
            <a:extLst>
              <a:ext uri="{FF2B5EF4-FFF2-40B4-BE49-F238E27FC236}">
                <a16:creationId xmlns:a16="http://schemas.microsoft.com/office/drawing/2014/main" id="{BB247E4C-2CF9-4E73-8E64-EE493F336875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6591300" y="1441450"/>
            <a:ext cx="0" cy="24288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472113" y="2108200"/>
            <a:ext cx="393700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7608C45-B8DA-46D0-9E40-F6472D615FE3}" type="datetime'''''''''1'',''''''''''''''''1''''''''4''''''''''2'''''''''">
              <a:rPr lang="en-GB" altLang="en-US" sz="1200" smtClean="0">
                <a:solidFill>
                  <a:srgbClr val="FFFFFF"/>
                </a:solidFill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142</a:t>
            </a:fld>
            <a:endParaRPr lang="en-GB" sz="12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62" name="Text Placeholder 3">
            <a:extLst>
              <a:ext uri="{FF2B5EF4-FFF2-40B4-BE49-F238E27FC236}">
                <a16:creationId xmlns:a16="http://schemas.microsoft.com/office/drawing/2014/main" id="{22824206-ECBA-449E-B47F-44E1B184FE3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422901" y="2586038"/>
            <a:ext cx="4937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6E3BE81-718E-4BE0-B7AB-AF759F17D9C8}" type="datetime'''''''Q''1''''''FY''''''''''2''''''2'''">
              <a:rPr lang="en-US" altLang="en-US" smtClean="0">
                <a:solidFill>
                  <a:srgbClr val="000000"/>
                </a:solidFill>
              </a:rPr>
              <a:pPr/>
              <a:t>Q1FY22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7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394450" y="1924050"/>
            <a:ext cx="393700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0F3EF17-EC26-44F0-BEF6-3386D26D04B6}" type="datetime'''1'''''''''',''3''''''''''''''''''''4''''''''''''''''''7'">
              <a:rPr lang="en-GB" altLang="en-US" sz="1200" smtClean="0">
                <a:solidFill>
                  <a:srgbClr val="FFFFFF"/>
                </a:solidFill>
                <a:effectLst/>
              </a:rPr>
              <a:pPr/>
              <a:t>1,347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257" name="Text Placeholder 3">
            <a:extLst>
              <a:ext uri="{FF2B5EF4-FFF2-40B4-BE49-F238E27FC236}">
                <a16:creationId xmlns:a16="http://schemas.microsoft.com/office/drawing/2014/main" id="{7418EDA7-4A15-4DFA-B868-9B786CC3D2C1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345239" y="2586038"/>
            <a:ext cx="4937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5C1D207-0BB0-46F0-89EE-B61FF6B6B684}" type="datetime'''''''Q1''''F''Y''''''2''''''''''''''''''''3'''''''">
              <a:rPr lang="en-US" altLang="en-US" smtClean="0">
                <a:solidFill>
                  <a:srgbClr val="000000"/>
                </a:solidFill>
              </a:rPr>
              <a:pPr/>
              <a:t>Q1FY23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318375" y="1833563"/>
            <a:ext cx="393700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D214BEC-E0F5-4C19-8A60-4C749B4D2F96}" type="datetime'''''''2'''',''''''''''''''0''''''''''''4''1''''''''''''''''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2,041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260" name="Text Placeholder 3">
            <a:extLst>
              <a:ext uri="{FF2B5EF4-FFF2-40B4-BE49-F238E27FC236}">
                <a16:creationId xmlns:a16="http://schemas.microsoft.com/office/drawing/2014/main" id="{87D5AF3D-72E6-4ACF-BF30-C0D212BDDD8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269164" y="2586038"/>
            <a:ext cx="4937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7DFE643-4DB9-41FA-B2F1-60753BB47A85}" type="datetime'Q1''''''F''''''Y''''''''''''''''''''''''''''2''4'''''''''''''">
              <a:rPr lang="en-US" altLang="en-US" smtClean="0">
                <a:solidFill>
                  <a:srgbClr val="000000"/>
                </a:solidFill>
              </a:rPr>
              <a:pPr/>
              <a:t>Q1FY24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513C528C-085D-42A1-B79A-B9BED40A3FD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434013" y="1906588"/>
            <a:ext cx="47148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8F425551-E03C-439B-868A-764127464A3F}" type="datetime'''1''''''''''''''''''0'''',''''''4''''''''6''6'">
              <a:rPr lang="en-GB" altLang="en-US" sz="1200" smtClean="0">
                <a:solidFill>
                  <a:srgbClr val="000000"/>
                </a:solidFill>
              </a:rPr>
              <a:pPr/>
              <a:t>10,466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64" name="Text Placeholder 2">
            <a:extLst>
              <a:ext uri="{FF2B5EF4-FFF2-40B4-BE49-F238E27FC236}">
                <a16:creationId xmlns:a16="http://schemas.microsoft.com/office/drawing/2014/main" id="{808A3708-10E7-47AF-A0BE-8EF9103F0BF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356350" y="1722438"/>
            <a:ext cx="47148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9F4B525F-CA4D-4A96-B01D-A450F14F2229}" type="datetime'15'''''''''',''''''8''''''''''''''''6''''''''3'''''''''''''''">
              <a:rPr lang="en-GB" altLang="en-US" sz="1200" smtClean="0">
                <a:solidFill>
                  <a:srgbClr val="000000"/>
                </a:solidFill>
              </a:rPr>
              <a:pPr/>
              <a:t>15,863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65" name="Text Placeholder 2">
            <a:extLst>
              <a:ext uri="{FF2B5EF4-FFF2-40B4-BE49-F238E27FC236}">
                <a16:creationId xmlns:a16="http://schemas.microsoft.com/office/drawing/2014/main" id="{2CE99246-5484-480B-8D5C-0D6A853DCF65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280275" y="1631950"/>
            <a:ext cx="47148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BDB30255-CEEF-406D-9524-8B2944E57383}" type="datetime'''1''''''''''''8'''''',8''''''''''''''3''''''1'''''''''''">
              <a:rPr lang="en-GB" altLang="en-US" sz="1200" smtClean="0">
                <a:solidFill>
                  <a:srgbClr val="000000"/>
                </a:solidFill>
              </a:rPr>
              <a:pPr/>
              <a:t>18,831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66" name="Text Placeholder 2">
            <a:extLst>
              <a:ext uri="{FF2B5EF4-FFF2-40B4-BE49-F238E27FC236}">
                <a16:creationId xmlns:a16="http://schemas.microsoft.com/office/drawing/2014/main" id="{966B988E-5EAD-435F-B02D-99B0B264E69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369050" y="1012825"/>
            <a:ext cx="484188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4F7668B-0D87-40B8-AAE5-5FECC0EB83BF}" type="datetime'''''''+''8''''0''''''''''''''''''''''''''''''''''''%'''''''''">
              <a:rPr lang="en-GB" altLang="en-US" sz="1200" smtClean="0">
                <a:solidFill>
                  <a:schemeClr val="accent1"/>
                </a:solidFill>
              </a:rPr>
              <a:pPr/>
              <a:t>+80%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67" name="Text Placeholder 2">
            <a:extLst>
              <a:ext uri="{FF2B5EF4-FFF2-40B4-BE49-F238E27FC236}">
                <a16:creationId xmlns:a16="http://schemas.microsoft.com/office/drawing/2014/main" id="{271907BA-1967-4130-A3FD-EDFCA9E68A6C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792912" y="1323975"/>
            <a:ext cx="484188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solidFill>
                  <a:schemeClr val="accent1"/>
                </a:solidFill>
              </a:rPr>
              <a:t>+19%</a:t>
            </a:r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sym typeface="+mn-lt"/>
            </a:endParaRPr>
          </a:p>
        </p:txBody>
      </p:sp>
      <p:graphicFrame>
        <p:nvGraphicFramePr>
          <p:cNvPr id="73" name="Chart 72">
            <a:extLst>
              <a:ext uri="{FF2B5EF4-FFF2-40B4-BE49-F238E27FC236}">
                <a16:creationId xmlns:a16="http://schemas.microsoft.com/office/drawing/2014/main" id="{3304235C-B214-1BEC-222A-225FAF84897B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897440219"/>
              </p:ext>
            </p:extLst>
          </p:nvPr>
        </p:nvGraphicFramePr>
        <p:xfrm>
          <a:off x="8650288" y="1971675"/>
          <a:ext cx="2935287" cy="64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5"/>
          </a:graphicData>
        </a:graphic>
      </p:graphicFrame>
      <p:cxnSp>
        <p:nvCxnSpPr>
          <p:cNvPr id="571" name="Straight Connector 570">
            <a:extLst>
              <a:ext uri="{FF2B5EF4-FFF2-40B4-BE49-F238E27FC236}">
                <a16:creationId xmlns:a16="http://schemas.microsoft.com/office/drawing/2014/main" id="{4C1AE755-0A20-44CC-8EB6-9120DADE4311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 flipV="1">
            <a:off x="9194800" y="1274763"/>
            <a:ext cx="0" cy="8080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2" name="Straight Connector 571">
            <a:extLst>
              <a:ext uri="{FF2B5EF4-FFF2-40B4-BE49-F238E27FC236}">
                <a16:creationId xmlns:a16="http://schemas.microsoft.com/office/drawing/2014/main" id="{F3A762EC-939D-4AAA-9342-6767AD061856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>
            <a:off x="9194800" y="1274763"/>
            <a:ext cx="7064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3" name="Straight Connector 572">
            <a:extLst>
              <a:ext uri="{FF2B5EF4-FFF2-40B4-BE49-F238E27FC236}">
                <a16:creationId xmlns:a16="http://schemas.microsoft.com/office/drawing/2014/main" id="{19EDF7F1-0AA5-4280-8645-BEB33FA9E91B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10371138" y="1274763"/>
            <a:ext cx="70802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4" name="Straight Connector 573">
            <a:extLst>
              <a:ext uri="{FF2B5EF4-FFF2-40B4-BE49-F238E27FC236}">
                <a16:creationId xmlns:a16="http://schemas.microsoft.com/office/drawing/2014/main" id="{F548A695-68C6-4AE8-8AE7-3B132D70F7F1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11079163" y="1274763"/>
            <a:ext cx="0" cy="46355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F05FA1C-42E1-4937-B0F6-D95D31B6B1FE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 flipV="1">
            <a:off x="10117138" y="1585913"/>
            <a:ext cx="0" cy="3254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B00C31E7-8D8B-4678-9E64-213D79361743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10117138" y="1585913"/>
            <a:ext cx="247650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3C930397-5C6C-4FDE-AB43-49B4BE568394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10756900" y="1585913"/>
            <a:ext cx="246063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A57474AF-6A41-43F1-BB86-8D12F0628AE4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11002963" y="1585913"/>
            <a:ext cx="0" cy="15240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5" name="Straight Connector 484">
            <a:extLst>
              <a:ext uri="{FF2B5EF4-FFF2-40B4-BE49-F238E27FC236}">
                <a16:creationId xmlns:a16="http://schemas.microsoft.com/office/drawing/2014/main" id="{B2126482-B3D3-32EB-EE86-F53822F092A9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 flipH="1">
            <a:off x="9410700" y="2349500"/>
            <a:ext cx="920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3" name="Text Placeholder 3">
            <a:extLst>
              <a:ext uri="{FF2B5EF4-FFF2-40B4-BE49-F238E27FC236}">
                <a16:creationId xmlns:a16="http://schemas.microsoft.com/office/drawing/2014/main" id="{58AE5EBF-B275-40F6-803B-207359BE6F6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948739" y="2586038"/>
            <a:ext cx="4937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758975F8-8862-4AFA-98B1-790DF38784C8}" type="datetime'''''Q''''''''''''''''''''1F''''Y''''''''''''''''2''''''''2'">
              <a:rPr lang="en-US" altLang="en-US" smtClean="0">
                <a:solidFill>
                  <a:srgbClr val="000000"/>
                </a:solidFill>
              </a:rPr>
              <a:pPr/>
              <a:t>Q1FY22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44" name="Text Placeholder 2">
            <a:extLst>
              <a:ext uri="{FF2B5EF4-FFF2-40B4-BE49-F238E27FC236}">
                <a16:creationId xmlns:a16="http://schemas.microsoft.com/office/drawing/2014/main" id="{08633BFF-4F39-443C-AFA6-244CDDDB87A9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0017125" y="2151063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8C8F080-21A6-41DD-8D42-25D3DE1BD1EA}" type="datetime'''''''8''''''6''''''''''''''''''''''''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86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342" name="Text Placeholder 3">
            <a:extLst>
              <a:ext uri="{FF2B5EF4-FFF2-40B4-BE49-F238E27FC236}">
                <a16:creationId xmlns:a16="http://schemas.microsoft.com/office/drawing/2014/main" id="{59C8A06F-3992-479F-9E83-D8C5DC88BFAC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9871076" y="2586038"/>
            <a:ext cx="4937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6CE1013-328A-4080-BBB8-D9CE0062A7DE}" type="datetime'''Q''''''1''FY''''''''2''3'''''''''''''''''''''''''''''''''''">
              <a:rPr lang="en-US" altLang="en-US" smtClean="0">
                <a:solidFill>
                  <a:srgbClr val="000000"/>
                </a:solidFill>
              </a:rPr>
              <a:pPr/>
              <a:t>Q1FY23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48" name="Text Placeholder 2">
            <a:extLst>
              <a:ext uri="{FF2B5EF4-FFF2-40B4-BE49-F238E27FC236}">
                <a16:creationId xmlns:a16="http://schemas.microsoft.com/office/drawing/2014/main" id="{3889A727-71B9-40CA-B605-A2BDD746CB8E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0941050" y="1978025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42B5B00-0004-422E-8EE4-64A3927B2B3A}" type="datetime'''9''''''''''''''''''9''''''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99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341" name="Text Placeholder 3">
            <a:extLst>
              <a:ext uri="{FF2B5EF4-FFF2-40B4-BE49-F238E27FC236}">
                <a16:creationId xmlns:a16="http://schemas.microsoft.com/office/drawing/2014/main" id="{75E653D9-3562-4536-A00B-382B496EC111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0795001" y="2586038"/>
            <a:ext cx="4937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DF06226-6EC8-48D0-9669-F2BC71D485F8}" type="datetime'''''''''Q''1F''''''''''Y''''''''''''''''''24'''''''''''''''">
              <a:rPr lang="en-US" altLang="en-US" smtClean="0">
                <a:solidFill>
                  <a:srgbClr val="000000"/>
                </a:solidFill>
              </a:rPr>
              <a:pPr/>
              <a:t>Q1FY24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45" name="Text Placeholder 2">
            <a:extLst>
              <a:ext uri="{FF2B5EF4-FFF2-40B4-BE49-F238E27FC236}">
                <a16:creationId xmlns:a16="http://schemas.microsoft.com/office/drawing/2014/main" id="{57A88A10-F994-4CA8-A890-E1FE074E7688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8997949" y="2120900"/>
            <a:ext cx="3937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9AF97064-9849-478E-922B-8E773ED5AF8B}" type="datetime'''''''''''''''''''1,''4''''''''''''''0''''''''''''''''0'''''''">
              <a:rPr lang="en-GB" altLang="en-US" sz="1200" smtClean="0">
                <a:solidFill>
                  <a:srgbClr val="000000"/>
                </a:solidFill>
              </a:rPr>
              <a:pPr/>
              <a:t>1,400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46" name="Text Placeholder 2">
            <a:extLst>
              <a:ext uri="{FF2B5EF4-FFF2-40B4-BE49-F238E27FC236}">
                <a16:creationId xmlns:a16="http://schemas.microsoft.com/office/drawing/2014/main" id="{B2C46427-C21C-474C-BDAD-4EED551310EE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9920288" y="1949450"/>
            <a:ext cx="3937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EDDDF53E-3DD4-489F-BBF3-7AFE86704F52}" type="datetime'''2'',''''''''''''''''''''''''2''''''''9''''''''''4'''''''''">
              <a:rPr lang="en-GB" altLang="en-US" sz="1200" smtClean="0">
                <a:solidFill>
                  <a:srgbClr val="000000"/>
                </a:solidFill>
              </a:rPr>
              <a:pPr/>
              <a:t>2,294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47" name="Text Placeholder 2">
            <a:extLst>
              <a:ext uri="{FF2B5EF4-FFF2-40B4-BE49-F238E27FC236}">
                <a16:creationId xmlns:a16="http://schemas.microsoft.com/office/drawing/2014/main" id="{D6D8438C-5592-47C2-BCA4-BB9B3CF4A996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10844213" y="1776413"/>
            <a:ext cx="3937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54FB6866-5AF4-4EA0-B498-DF5C4D13DEFD}" type="datetime'''''''''''''''''''3'''''''''''',''5''9''''''''''''''''6'">
              <a:rPr lang="en-GB" altLang="en-US" sz="1200" smtClean="0">
                <a:solidFill>
                  <a:srgbClr val="000000"/>
                </a:solidFill>
              </a:rPr>
              <a:pPr/>
              <a:t>3,596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56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9839325" y="1157288"/>
            <a:ext cx="593725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9DE8843-B7F8-40E7-B177-A3BCE17FF5A9}" type="datetime'''''''+''''1''''''''5''''''''''''''''''''''''''''''''7%'">
              <a:rPr lang="en-GB" altLang="en-US" sz="1200" smtClean="0">
                <a:solidFill>
                  <a:srgbClr val="4472C4"/>
                </a:solidFill>
              </a:rPr>
              <a:pPr/>
              <a:t>+157%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8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0318750" y="1468438"/>
            <a:ext cx="484188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solidFill>
                  <a:schemeClr val="accent1"/>
                </a:solidFill>
                <a:effectLst/>
                <a:sym typeface="+mn-lt"/>
              </a:rPr>
              <a:t>+</a:t>
            </a:r>
            <a:r>
              <a:rPr lang="en-GB" altLang="en-US" sz="1200" dirty="0">
                <a:solidFill>
                  <a:schemeClr val="accent1"/>
                </a:solidFill>
                <a:sym typeface="+mn-lt"/>
              </a:rPr>
              <a:t>57</a:t>
            </a:r>
            <a:r>
              <a:rPr lang="en-GB" altLang="en-US" sz="1200" dirty="0">
                <a:solidFill>
                  <a:schemeClr val="accent1"/>
                </a:solidFill>
                <a:effectLst/>
                <a:sym typeface="+mn-lt"/>
              </a:rPr>
              <a:t>%</a:t>
            </a:r>
            <a:endParaRPr lang="en-GB" sz="1200" dirty="0">
              <a:solidFill>
                <a:schemeClr val="accent1"/>
              </a:solidFill>
              <a:sym typeface="+mn-lt"/>
            </a:endParaRPr>
          </a:p>
        </p:txBody>
      </p:sp>
      <p:graphicFrame>
        <p:nvGraphicFramePr>
          <p:cNvPr id="114" name="Chart 113">
            <a:extLst>
              <a:ext uri="{FF2B5EF4-FFF2-40B4-BE49-F238E27FC236}">
                <a16:creationId xmlns:a16="http://schemas.microsoft.com/office/drawing/2014/main" id="{6CD7035C-CC66-E346-EB0A-3426BA9200D2}"/>
              </a:ext>
            </a:extLst>
          </p:cNvPr>
          <p:cNvGraphicFramePr/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2572810587"/>
              </p:ext>
            </p:extLst>
          </p:nvPr>
        </p:nvGraphicFramePr>
        <p:xfrm>
          <a:off x="5124450" y="3668713"/>
          <a:ext cx="2935288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6"/>
          </a:graphicData>
        </a:graphic>
      </p:graphicFrame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8950182-05DF-4E81-95AA-E2E5260A170B}"/>
              </a:ext>
            </a:extLst>
          </p:cNvPr>
          <p:cNvCxnSpPr/>
          <p:nvPr>
            <p:custDataLst>
              <p:tags r:id="rId44"/>
            </p:custDataLst>
          </p:nvPr>
        </p:nvCxnSpPr>
        <p:spPr bwMode="gray">
          <a:xfrm flipV="1">
            <a:off x="5668963" y="2998788"/>
            <a:ext cx="0" cy="6524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770324A-B025-4927-A0BC-E351CBAD312C}"/>
              </a:ext>
            </a:extLst>
          </p:cNvPr>
          <p:cNvCxnSpPr/>
          <p:nvPr>
            <p:custDataLst>
              <p:tags r:id="rId45"/>
            </p:custDataLst>
          </p:nvPr>
        </p:nvCxnSpPr>
        <p:spPr bwMode="gray">
          <a:xfrm>
            <a:off x="5668963" y="2998788"/>
            <a:ext cx="74612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2C6C1C6A-9318-4585-A8AA-3C2751F4E25D}"/>
              </a:ext>
            </a:extLst>
          </p:cNvPr>
          <p:cNvCxnSpPr/>
          <p:nvPr>
            <p:custDataLst>
              <p:tags r:id="rId46"/>
            </p:custDataLst>
          </p:nvPr>
        </p:nvCxnSpPr>
        <p:spPr bwMode="gray">
          <a:xfrm>
            <a:off x="6807200" y="2998788"/>
            <a:ext cx="74612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9C4E4908-6378-4F08-8996-E1167DB2F695}"/>
              </a:ext>
            </a:extLst>
          </p:cNvPr>
          <p:cNvCxnSpPr/>
          <p:nvPr>
            <p:custDataLst>
              <p:tags r:id="rId47"/>
            </p:custDataLst>
          </p:nvPr>
        </p:nvCxnSpPr>
        <p:spPr bwMode="gray">
          <a:xfrm>
            <a:off x="7553325" y="2998787"/>
            <a:ext cx="0" cy="46355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1" name="Straight Connector 480">
            <a:extLst>
              <a:ext uri="{FF2B5EF4-FFF2-40B4-BE49-F238E27FC236}">
                <a16:creationId xmlns:a16="http://schemas.microsoft.com/office/drawing/2014/main" id="{3A5B660C-E138-428A-A644-922A9600F3EB}"/>
              </a:ext>
            </a:extLst>
          </p:cNvPr>
          <p:cNvCxnSpPr>
            <a:cxnSpLocks/>
          </p:cNvCxnSpPr>
          <p:nvPr>
            <p:custDataLst>
              <p:tags r:id="rId48"/>
            </p:custDataLst>
          </p:nvPr>
        </p:nvCxnSpPr>
        <p:spPr bwMode="gray">
          <a:xfrm flipV="1">
            <a:off x="6591300" y="3309938"/>
            <a:ext cx="0" cy="33337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C906C8E7-E68D-48E6-8230-0EEE8C6F1EAB}"/>
              </a:ext>
            </a:extLst>
          </p:cNvPr>
          <p:cNvCxnSpPr/>
          <p:nvPr>
            <p:custDataLst>
              <p:tags r:id="rId49"/>
            </p:custDataLst>
          </p:nvPr>
        </p:nvCxnSpPr>
        <p:spPr bwMode="gray">
          <a:xfrm>
            <a:off x="6591300" y="3309938"/>
            <a:ext cx="247650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72725EF6-8462-471F-BE0C-4EBDFD1DE1AE}"/>
              </a:ext>
            </a:extLst>
          </p:cNvPr>
          <p:cNvCxnSpPr/>
          <p:nvPr>
            <p:custDataLst>
              <p:tags r:id="rId50"/>
            </p:custDataLst>
          </p:nvPr>
        </p:nvCxnSpPr>
        <p:spPr bwMode="gray">
          <a:xfrm>
            <a:off x="7231063" y="3309938"/>
            <a:ext cx="246063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8D00BFFB-F0D4-4274-B4C3-5BE241F40A01}"/>
              </a:ext>
            </a:extLst>
          </p:cNvPr>
          <p:cNvCxnSpPr/>
          <p:nvPr>
            <p:custDataLst>
              <p:tags r:id="rId51"/>
            </p:custDataLst>
          </p:nvPr>
        </p:nvCxnSpPr>
        <p:spPr bwMode="gray">
          <a:xfrm>
            <a:off x="7477125" y="3309938"/>
            <a:ext cx="0" cy="15240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7" name="Text Placeholder 2">
            <a:extLst>
              <a:ext uri="{FF2B5EF4-FFF2-40B4-BE49-F238E27FC236}">
                <a16:creationId xmlns:a16="http://schemas.microsoft.com/office/drawing/2014/main" id="{65FFA995-760E-45A5-BA56-504011278613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5530850" y="3890963"/>
            <a:ext cx="277813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98B0198-6C5C-4E5D-84C8-0C9E948F14B9}" type="datetime'''1''''''''2''''''''''''''''''''''''''''''''''5''''''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125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370" name="Text Placeholder 3">
            <a:extLst>
              <a:ext uri="{FF2B5EF4-FFF2-40B4-BE49-F238E27FC236}">
                <a16:creationId xmlns:a16="http://schemas.microsoft.com/office/drawing/2014/main" id="{D4065817-0EB8-4EFE-8190-AD6478CDE0D7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5422901" y="4456113"/>
            <a:ext cx="4937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E2A61AB-4B47-47DC-8036-8B19B0BF4327}" type="datetime'''''Q''''''''''''''''''''''''''''''''''''''''1FY''''''2''2'''">
              <a:rPr lang="en-US" altLang="en-US" smtClean="0">
                <a:solidFill>
                  <a:srgbClr val="000000"/>
                </a:solidFill>
              </a:rPr>
              <a:pPr/>
              <a:t>Q1FY22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71" name="Text Placeholder 2">
            <a:extLst>
              <a:ext uri="{FF2B5EF4-FFF2-40B4-BE49-F238E27FC236}">
                <a16:creationId xmlns:a16="http://schemas.microsoft.com/office/drawing/2014/main" id="{2CF1E13B-0A5B-4FAE-A2F6-5EAF6478E7B8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6453188" y="3883025"/>
            <a:ext cx="277813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F7E4335-3030-474E-ADA8-283F6FCE6E78}" type="datetime'''''''''''''''''''''''''''''''''''''''''''''''14''''''0'">
              <a:rPr lang="en-GB" altLang="en-US" sz="1200" smtClean="0">
                <a:solidFill>
                  <a:srgbClr val="FFFFFF"/>
                </a:solidFill>
                <a:effectLst/>
              </a:rPr>
              <a:pPr/>
              <a:t>140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369" name="Text Placeholder 3">
            <a:extLst>
              <a:ext uri="{FF2B5EF4-FFF2-40B4-BE49-F238E27FC236}">
                <a16:creationId xmlns:a16="http://schemas.microsoft.com/office/drawing/2014/main" id="{D5F844AF-38EC-4C3C-9ED0-020F628429D7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6345239" y="4456113"/>
            <a:ext cx="4937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82E0563-B46C-4CFA-B814-5290DB8CA7F9}" type="datetime'''''''''''''''''''Q1''F''''Y''''''''''''''''''2''''3'''''">
              <a:rPr lang="en-US" altLang="en-US" smtClean="0">
                <a:solidFill>
                  <a:srgbClr val="000000"/>
                </a:solidFill>
              </a:rPr>
              <a:pPr/>
              <a:t>Q1FY23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75" name="Text Placeholder 2">
            <a:extLst>
              <a:ext uri="{FF2B5EF4-FFF2-40B4-BE49-F238E27FC236}">
                <a16:creationId xmlns:a16="http://schemas.microsoft.com/office/drawing/2014/main" id="{02980E2D-2E8F-4EF8-966E-7F629DE899CE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7377113" y="3702050"/>
            <a:ext cx="277813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D0A3315-1CA2-4781-BF82-C9F3EE1B5CF0}" type="datetime'''''''''''''''''''''''''''''''''''''''1''3''''''''''''8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138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368" name="Text Placeholder 3">
            <a:extLst>
              <a:ext uri="{FF2B5EF4-FFF2-40B4-BE49-F238E27FC236}">
                <a16:creationId xmlns:a16="http://schemas.microsoft.com/office/drawing/2014/main" id="{8651601E-D741-46BD-B523-F46D3E267E7B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7269164" y="4456113"/>
            <a:ext cx="4937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604126F-FE96-493B-BBD5-335F1FB6E568}" type="datetime'''''Q1''''''F''''Y''''''''''''''''''''''''2''''''4'''''">
              <a:rPr lang="en-US" altLang="en-US" smtClean="0">
                <a:solidFill>
                  <a:srgbClr val="000000"/>
                </a:solidFill>
              </a:rPr>
              <a:pPr/>
              <a:t>Q1FY24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72" name="Text Placeholder 2">
            <a:extLst>
              <a:ext uri="{FF2B5EF4-FFF2-40B4-BE49-F238E27FC236}">
                <a16:creationId xmlns:a16="http://schemas.microsoft.com/office/drawing/2014/main" id="{2565FCDE-94DD-4D3D-B2EF-98F32B1471C8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5530850" y="3689350"/>
            <a:ext cx="2778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852D5730-B07D-4EA3-8B26-301392366E9D}" type="datetime'''9''''''''''''''''''''''''''''''''37'''''''''''''''">
              <a:rPr lang="en-GB" altLang="en-US" sz="1200" smtClean="0">
                <a:solidFill>
                  <a:srgbClr val="000000"/>
                </a:solidFill>
              </a:rPr>
              <a:pPr/>
              <a:t>937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73" name="Text Placeholder 2">
            <a:extLst>
              <a:ext uri="{FF2B5EF4-FFF2-40B4-BE49-F238E27FC236}">
                <a16:creationId xmlns:a16="http://schemas.microsoft.com/office/drawing/2014/main" id="{E36062D6-BAC9-4B76-9BED-B775AD2B47BF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6453188" y="3681413"/>
            <a:ext cx="2778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FC8E728D-B575-4C7E-8946-7AE32D312C75}" type="datetime'''''''''''''''''9''6''1'''''''''''''''''''''''''">
              <a:rPr lang="en-GB" altLang="en-US" sz="1200" smtClean="0">
                <a:solidFill>
                  <a:srgbClr val="000000"/>
                </a:solidFill>
              </a:rPr>
              <a:pPr/>
              <a:t>961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74" name="Text Placeholder 2">
            <a:extLst>
              <a:ext uri="{FF2B5EF4-FFF2-40B4-BE49-F238E27FC236}">
                <a16:creationId xmlns:a16="http://schemas.microsoft.com/office/drawing/2014/main" id="{486C7830-05B0-4E4C-8290-340669ACF58D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7318374" y="3500438"/>
            <a:ext cx="3937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68A1C8A1-D88A-40E0-BB5D-95772ED5F8E0}" type="datetime'''''''''''1'''''''''''',''''''''''''''''''''''''''3''''''2''6'">
              <a:rPr lang="en-GB" altLang="en-US" sz="1200" smtClean="0">
                <a:solidFill>
                  <a:srgbClr val="000000"/>
                </a:solidFill>
              </a:rPr>
              <a:pPr/>
              <a:t>1,326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6369050" y="2881313"/>
            <a:ext cx="484188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BDB7109-2701-4D3B-8887-030BB21F277B}" type="datetime'''''''''''''''''+''''''''''''''''4''''''2''''''''%'''">
              <a:rPr lang="en-GB" altLang="en-US" sz="1200" smtClean="0">
                <a:solidFill>
                  <a:schemeClr val="accent1"/>
                </a:solidFill>
              </a:rPr>
              <a:pPr/>
              <a:t>+42%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27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6792913" y="3192463"/>
            <a:ext cx="484188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solidFill>
                  <a:schemeClr val="accent1"/>
                </a:solidFill>
              </a:rPr>
              <a:t>+38%</a:t>
            </a:r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sym typeface="+mn-lt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3BA412F9-EFE6-6D5C-907D-2EC3DD6BB8E9}"/>
              </a:ext>
            </a:extLst>
          </p:cNvPr>
          <p:cNvGraphicFramePr/>
          <p:nvPr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3722032821"/>
              </p:ext>
            </p:extLst>
          </p:nvPr>
        </p:nvGraphicFramePr>
        <p:xfrm>
          <a:off x="6572250" y="5637213"/>
          <a:ext cx="2935288" cy="604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7"/>
          </a:graphicData>
        </a:graphic>
      </p:graphicFrame>
      <p:cxnSp>
        <p:nvCxnSpPr>
          <p:cNvPr id="606" name="Straight Connector 605">
            <a:extLst>
              <a:ext uri="{FF2B5EF4-FFF2-40B4-BE49-F238E27FC236}">
                <a16:creationId xmlns:a16="http://schemas.microsoft.com/office/drawing/2014/main" id="{7EB17C4C-279A-44C0-8172-B2C83CCBDCBE}"/>
              </a:ext>
            </a:extLst>
          </p:cNvPr>
          <p:cNvCxnSpPr/>
          <p:nvPr>
            <p:custDataLst>
              <p:tags r:id="rId64"/>
            </p:custDataLst>
          </p:nvPr>
        </p:nvCxnSpPr>
        <p:spPr bwMode="gray">
          <a:xfrm flipV="1">
            <a:off x="7116763" y="4940300"/>
            <a:ext cx="0" cy="67945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7" name="Straight Connector 606">
            <a:extLst>
              <a:ext uri="{FF2B5EF4-FFF2-40B4-BE49-F238E27FC236}">
                <a16:creationId xmlns:a16="http://schemas.microsoft.com/office/drawing/2014/main" id="{71B5810D-D794-42B7-AB6A-74AD00E6A4F6}"/>
              </a:ext>
            </a:extLst>
          </p:cNvPr>
          <p:cNvCxnSpPr/>
          <p:nvPr>
            <p:custDataLst>
              <p:tags r:id="rId65"/>
            </p:custDataLst>
          </p:nvPr>
        </p:nvCxnSpPr>
        <p:spPr bwMode="gray">
          <a:xfrm>
            <a:off x="7116763" y="4940300"/>
            <a:ext cx="74612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8" name="Straight Connector 607">
            <a:extLst>
              <a:ext uri="{FF2B5EF4-FFF2-40B4-BE49-F238E27FC236}">
                <a16:creationId xmlns:a16="http://schemas.microsoft.com/office/drawing/2014/main" id="{3BB70E99-F238-410F-81E7-DA810332A535}"/>
              </a:ext>
            </a:extLst>
          </p:cNvPr>
          <p:cNvCxnSpPr/>
          <p:nvPr>
            <p:custDataLst>
              <p:tags r:id="rId66"/>
            </p:custDataLst>
          </p:nvPr>
        </p:nvCxnSpPr>
        <p:spPr bwMode="gray">
          <a:xfrm>
            <a:off x="8255000" y="4940300"/>
            <a:ext cx="74612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9" name="Straight Connector 608">
            <a:extLst>
              <a:ext uri="{FF2B5EF4-FFF2-40B4-BE49-F238E27FC236}">
                <a16:creationId xmlns:a16="http://schemas.microsoft.com/office/drawing/2014/main" id="{7755BC0B-2389-42B6-8314-E8ED3E9701E2}"/>
              </a:ext>
            </a:extLst>
          </p:cNvPr>
          <p:cNvCxnSpPr/>
          <p:nvPr>
            <p:custDataLst>
              <p:tags r:id="rId67"/>
            </p:custDataLst>
          </p:nvPr>
        </p:nvCxnSpPr>
        <p:spPr bwMode="gray">
          <a:xfrm>
            <a:off x="9001125" y="4940300"/>
            <a:ext cx="0" cy="50958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C2D7A2B2-7632-48EE-A2A7-C11F8256E153}"/>
              </a:ext>
            </a:extLst>
          </p:cNvPr>
          <p:cNvCxnSpPr/>
          <p:nvPr>
            <p:custDataLst>
              <p:tags r:id="rId68"/>
            </p:custDataLst>
          </p:nvPr>
        </p:nvCxnSpPr>
        <p:spPr bwMode="gray">
          <a:xfrm flipV="1">
            <a:off x="8039100" y="5251450"/>
            <a:ext cx="0" cy="15240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C50E741C-8AB0-41D4-A5F5-1992D43E0A7E}"/>
              </a:ext>
            </a:extLst>
          </p:cNvPr>
          <p:cNvCxnSpPr/>
          <p:nvPr>
            <p:custDataLst>
              <p:tags r:id="rId69"/>
            </p:custDataLst>
          </p:nvPr>
        </p:nvCxnSpPr>
        <p:spPr bwMode="gray">
          <a:xfrm>
            <a:off x="8039100" y="5251450"/>
            <a:ext cx="2619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EDAF318-8140-4033-968A-C38F4235AA70}"/>
              </a:ext>
            </a:extLst>
          </p:cNvPr>
          <p:cNvCxnSpPr/>
          <p:nvPr>
            <p:custDataLst>
              <p:tags r:id="rId70"/>
            </p:custDataLst>
          </p:nvPr>
        </p:nvCxnSpPr>
        <p:spPr bwMode="gray">
          <a:xfrm>
            <a:off x="8662987" y="5251450"/>
            <a:ext cx="2619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30744D80-CF2B-43FA-9EE9-07F3026B67E1}"/>
              </a:ext>
            </a:extLst>
          </p:cNvPr>
          <p:cNvCxnSpPr/>
          <p:nvPr>
            <p:custDataLst>
              <p:tags r:id="rId71"/>
            </p:custDataLst>
          </p:nvPr>
        </p:nvCxnSpPr>
        <p:spPr bwMode="gray">
          <a:xfrm>
            <a:off x="8924925" y="5251450"/>
            <a:ext cx="0" cy="1984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7161213" y="5859463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E30ECA9-C5EC-4A70-AF20-60A100A3DB6A}" type="datetime'''''''''''''''''''7''''''''''''''''''''4''''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74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6775449" y="5970588"/>
            <a:ext cx="393700" cy="165100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4F8F542-9FCA-4DBA-821C-E2D72AC1C969}" type="datetime'1'''',''''''''''''54''''1''''''''''''''''''''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1,541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447" name="Text Placeholder 3">
            <a:extLst>
              <a:ext uri="{FF2B5EF4-FFF2-40B4-BE49-F238E27FC236}">
                <a16:creationId xmlns:a16="http://schemas.microsoft.com/office/drawing/2014/main" id="{F3B5D9F6-68A8-4E8E-AC45-617B7EC61E22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6870701" y="6210300"/>
            <a:ext cx="4937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8B50558-3A2E-4454-A343-CBEB2AA7ED44}" type="datetime'Q''''''''''''1FY''''''''''2''''''''''''''''2'''">
              <a:rPr lang="en-US" altLang="en-US" smtClean="0">
                <a:solidFill>
                  <a:srgbClr val="000000"/>
                </a:solidFill>
              </a:rPr>
              <a:pPr/>
              <a:t>Q1FY22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505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7939088" y="5643563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6EA8CE7-7B7A-4B46-92FF-87540F1508CD}" type="datetime'''''''''''''''''''''9''''''''''''''''''''3'">
              <a:rPr lang="en-GB" altLang="en-US" sz="1200" smtClean="0">
                <a:solidFill>
                  <a:srgbClr val="FFFFFF"/>
                </a:solidFill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3</a:t>
            </a:fld>
            <a:endParaRPr lang="en-GB" sz="12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451" name="Text Placeholder 3">
            <a:extLst>
              <a:ext uri="{FF2B5EF4-FFF2-40B4-BE49-F238E27FC236}">
                <a16:creationId xmlns:a16="http://schemas.microsoft.com/office/drawing/2014/main" id="{45752209-3438-4740-AA1D-FFAC90634E8B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7793039" y="6210300"/>
            <a:ext cx="4937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195FC8D-C7B5-4363-815B-08AC6783D98C}" type="datetime'Q''''''''''''''''''''''''''1''''F''Y''2''''3'''''''''">
              <a:rPr lang="en-US" altLang="en-US" smtClean="0">
                <a:solidFill>
                  <a:srgbClr val="000000"/>
                </a:solidFill>
              </a:rPr>
              <a:pPr/>
              <a:t>Q1FY23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6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8863013" y="5689600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29597C-F2EF-494C-8299-5E58E848129F}" type="datetime'''''''''5''''''''''9''''''''''''''''''''''''''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59</a:t>
            </a:fld>
            <a:endParaRPr lang="en-GB" sz="12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446" name="Text Placeholder 3">
            <a:extLst>
              <a:ext uri="{FF2B5EF4-FFF2-40B4-BE49-F238E27FC236}">
                <a16:creationId xmlns:a16="http://schemas.microsoft.com/office/drawing/2014/main" id="{E1A7B9AE-F501-4577-814C-03A56864F89E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8716964" y="6210300"/>
            <a:ext cx="4937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B59A4FB-0D5B-4A13-8DBC-23E05C3B2C8A}" type="datetime'''''''''Q''''''1''''FY''''''''''''''2''4'''''''''''''''''">
              <a:rPr lang="en-US" altLang="en-US" smtClean="0">
                <a:solidFill>
                  <a:srgbClr val="000000"/>
                </a:solidFill>
              </a:rPr>
              <a:pPr/>
              <a:t>Q1FY24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453" name="Text Placeholder 2">
            <a:extLst>
              <a:ext uri="{FF2B5EF4-FFF2-40B4-BE49-F238E27FC236}">
                <a16:creationId xmlns:a16="http://schemas.microsoft.com/office/drawing/2014/main" id="{7A1F9465-F07E-4767-B2A0-B48F1CB7A9EC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6919912" y="5657850"/>
            <a:ext cx="3937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534A7510-CD8D-46A7-A596-EC13991C117A}" type="datetime'1'''''''''''''''''''''''''',''''''''''6''''1''''5'''''''''''">
              <a:rPr lang="en-GB" altLang="en-US" sz="1200" smtClean="0">
                <a:solidFill>
                  <a:srgbClr val="000000"/>
                </a:solidFill>
              </a:rPr>
              <a:pPr/>
              <a:t>1,615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452" name="Text Placeholder 2">
            <a:extLst>
              <a:ext uri="{FF2B5EF4-FFF2-40B4-BE49-F238E27FC236}">
                <a16:creationId xmlns:a16="http://schemas.microsoft.com/office/drawing/2014/main" id="{E9A4776C-5220-4679-8AEE-028068DDD2D6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7842250" y="5441950"/>
            <a:ext cx="3937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328D87AA-D928-4833-8B7D-55529EA386F3}" type="datetime'''''''''3'''''',''''''''''''''''1''''''''''''9''5'''''''''''">
              <a:rPr lang="en-GB" altLang="en-US" sz="1200" smtClean="0">
                <a:solidFill>
                  <a:srgbClr val="000000"/>
                </a:solidFill>
              </a:rPr>
              <a:pPr/>
              <a:t>3,195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454" name="Text Placeholder 2">
            <a:extLst>
              <a:ext uri="{FF2B5EF4-FFF2-40B4-BE49-F238E27FC236}">
                <a16:creationId xmlns:a16="http://schemas.microsoft.com/office/drawing/2014/main" id="{91E81BA8-AC59-4121-B696-D7A63F837FA0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8766175" y="5487988"/>
            <a:ext cx="3937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69E6A796-96E3-45A0-BD22-FAEE4F6D09B0}" type="datetime'''''2'''''''''''''',''''''8''''3''''''7'''''''''''''''''''''''">
              <a:rPr lang="en-GB" altLang="en-US" sz="1200" smtClean="0">
                <a:solidFill>
                  <a:srgbClr val="000000"/>
                </a:solidFill>
              </a:rPr>
              <a:pPr/>
              <a:t>2,837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60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7816850" y="4822825"/>
            <a:ext cx="484188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D7E8E04-2CD2-478F-AC20-966DDE0A2558}" type="datetime'''''''+''''''''''''''7''''''6''''''''''''''''''''''''''%'''">
              <a:rPr lang="en-GB" altLang="en-US" sz="1200" smtClean="0">
                <a:solidFill>
                  <a:srgbClr val="4472C4"/>
                </a:solidFill>
              </a:rPr>
              <a:pPr/>
              <a:t>+76%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8261351" y="5133975"/>
            <a:ext cx="441325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solidFill>
                  <a:srgbClr val="FF0000"/>
                </a:solidFill>
              </a:rPr>
              <a:t>-</a:t>
            </a:r>
            <a:fld id="{4B504C39-C968-440A-9EA3-2A02920034E3}" type="datetime'''''''''''''''''''''''''''''1''''''''''''''1'''''''''''''''''">
              <a:rPr lang="en-GB" altLang="en-US" sz="1200" smtClean="0">
                <a:solidFill>
                  <a:srgbClr val="FF0000"/>
                </a:solidFill>
              </a:rPr>
              <a:pPr/>
              <a:t>11</a:t>
            </a:fld>
            <a:r>
              <a:rPr lang="en-GB" altLang="en-US" sz="1200" dirty="0">
                <a:solidFill>
                  <a:srgbClr val="FF0000"/>
                </a:solidFill>
              </a:rPr>
              <a:t>%</a:t>
            </a:r>
            <a:endParaRPr lang="en-GB" sz="1200" dirty="0">
              <a:solidFill>
                <a:srgbClr val="FF0000"/>
              </a:solidFill>
              <a:sym typeface="+mn-lt"/>
            </a:endParaRPr>
          </a:p>
        </p:txBody>
      </p:sp>
      <p:graphicFrame>
        <p:nvGraphicFramePr>
          <p:cNvPr id="470" name="Chart 469">
            <a:extLst>
              <a:ext uri="{FF2B5EF4-FFF2-40B4-BE49-F238E27FC236}">
                <a16:creationId xmlns:a16="http://schemas.microsoft.com/office/drawing/2014/main" id="{F844FBA8-ECD3-A851-010A-E6D387BE4A8B}"/>
              </a:ext>
            </a:extLst>
          </p:cNvPr>
          <p:cNvGraphicFramePr/>
          <p:nvPr>
            <p:custDataLst>
              <p:tags r:id="rId84"/>
            </p:custDataLst>
            <p:extLst>
              <p:ext uri="{D42A27DB-BD31-4B8C-83A1-F6EECF244321}">
                <p14:modId xmlns:p14="http://schemas.microsoft.com/office/powerpoint/2010/main" val="4040090301"/>
              </p:ext>
            </p:extLst>
          </p:nvPr>
        </p:nvGraphicFramePr>
        <p:xfrm>
          <a:off x="8650288" y="3927475"/>
          <a:ext cx="2935287" cy="560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8"/>
          </a:graphicData>
        </a:graphic>
      </p:graphicFrame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17AD3EB-3DEB-4680-B5BA-F8B055D69629}"/>
              </a:ext>
            </a:extLst>
          </p:cNvPr>
          <p:cNvCxnSpPr/>
          <p:nvPr>
            <p:custDataLst>
              <p:tags r:id="rId85"/>
            </p:custDataLst>
          </p:nvPr>
        </p:nvCxnSpPr>
        <p:spPr bwMode="gray">
          <a:xfrm flipV="1">
            <a:off x="9194800" y="3216275"/>
            <a:ext cx="0" cy="80962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6B2A38C-C2EF-47D7-A810-18562363C60D}"/>
              </a:ext>
            </a:extLst>
          </p:cNvPr>
          <p:cNvCxnSpPr/>
          <p:nvPr>
            <p:custDataLst>
              <p:tags r:id="rId86"/>
            </p:custDataLst>
          </p:nvPr>
        </p:nvCxnSpPr>
        <p:spPr bwMode="gray">
          <a:xfrm>
            <a:off x="9194800" y="3216275"/>
            <a:ext cx="7064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5689A49-6820-4B3D-85CD-CA0105DF1AFC}"/>
              </a:ext>
            </a:extLst>
          </p:cNvPr>
          <p:cNvCxnSpPr/>
          <p:nvPr>
            <p:custDataLst>
              <p:tags r:id="rId87"/>
            </p:custDataLst>
          </p:nvPr>
        </p:nvCxnSpPr>
        <p:spPr bwMode="gray">
          <a:xfrm>
            <a:off x="10371138" y="3216275"/>
            <a:ext cx="70802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9B20C5C-9F84-4532-8B95-3AD9E73E63AC}"/>
              </a:ext>
            </a:extLst>
          </p:cNvPr>
          <p:cNvCxnSpPr/>
          <p:nvPr>
            <p:custDataLst>
              <p:tags r:id="rId88"/>
            </p:custDataLst>
          </p:nvPr>
        </p:nvCxnSpPr>
        <p:spPr bwMode="gray">
          <a:xfrm>
            <a:off x="11079163" y="3216275"/>
            <a:ext cx="0" cy="50958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1" name="Straight Connector 280">
            <a:extLst>
              <a:ext uri="{FF2B5EF4-FFF2-40B4-BE49-F238E27FC236}">
                <a16:creationId xmlns:a16="http://schemas.microsoft.com/office/drawing/2014/main" id="{1A6FD1F3-35A6-4283-9A83-C8B45D8AD566}"/>
              </a:ext>
            </a:extLst>
          </p:cNvPr>
          <p:cNvCxnSpPr/>
          <p:nvPr>
            <p:custDataLst>
              <p:tags r:id="rId89"/>
            </p:custDataLst>
          </p:nvPr>
        </p:nvCxnSpPr>
        <p:spPr bwMode="gray">
          <a:xfrm flipV="1">
            <a:off x="11002963" y="3527425"/>
            <a:ext cx="0" cy="1984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3" name="Straight Connector 282">
            <a:extLst>
              <a:ext uri="{FF2B5EF4-FFF2-40B4-BE49-F238E27FC236}">
                <a16:creationId xmlns:a16="http://schemas.microsoft.com/office/drawing/2014/main" id="{EF6C5384-8B6C-41FE-A2E1-82FC951CC156}"/>
              </a:ext>
            </a:extLst>
          </p:cNvPr>
          <p:cNvCxnSpPr/>
          <p:nvPr>
            <p:custDataLst>
              <p:tags r:id="rId90"/>
            </p:custDataLst>
          </p:nvPr>
        </p:nvCxnSpPr>
        <p:spPr bwMode="gray">
          <a:xfrm flipH="1">
            <a:off x="10741025" y="3527425"/>
            <a:ext cx="2619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3" name="Straight Connector 292">
            <a:extLst>
              <a:ext uri="{FF2B5EF4-FFF2-40B4-BE49-F238E27FC236}">
                <a16:creationId xmlns:a16="http://schemas.microsoft.com/office/drawing/2014/main" id="{E8595AF1-AEC9-48B2-B9C2-26DB9057D907}"/>
              </a:ext>
            </a:extLst>
          </p:cNvPr>
          <p:cNvCxnSpPr/>
          <p:nvPr>
            <p:custDataLst>
              <p:tags r:id="rId91"/>
            </p:custDataLst>
          </p:nvPr>
        </p:nvCxnSpPr>
        <p:spPr bwMode="gray">
          <a:xfrm flipH="1">
            <a:off x="10117138" y="3527425"/>
            <a:ext cx="2619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7" name="Straight Connector 286">
            <a:extLst>
              <a:ext uri="{FF2B5EF4-FFF2-40B4-BE49-F238E27FC236}">
                <a16:creationId xmlns:a16="http://schemas.microsoft.com/office/drawing/2014/main" id="{594F6A43-0763-48AF-A906-F319447E316C}"/>
              </a:ext>
            </a:extLst>
          </p:cNvPr>
          <p:cNvCxnSpPr/>
          <p:nvPr>
            <p:custDataLst>
              <p:tags r:id="rId92"/>
            </p:custDataLst>
          </p:nvPr>
        </p:nvCxnSpPr>
        <p:spPr bwMode="gray">
          <a:xfrm>
            <a:off x="10117138" y="3527425"/>
            <a:ext cx="0" cy="15240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995C2E5-B3AF-43BC-5CEC-C32E3DCADBD4}"/>
              </a:ext>
            </a:extLst>
          </p:cNvPr>
          <p:cNvCxnSpPr/>
          <p:nvPr>
            <p:custDataLst>
              <p:tags r:id="rId93"/>
            </p:custDataLst>
          </p:nvPr>
        </p:nvCxnSpPr>
        <p:spPr bwMode="auto">
          <a:xfrm flipH="1">
            <a:off x="9410700" y="4270375"/>
            <a:ext cx="98425" cy="76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1" name="Text Placeholder 3">
            <a:extLst>
              <a:ext uri="{FF2B5EF4-FFF2-40B4-BE49-F238E27FC236}">
                <a16:creationId xmlns:a16="http://schemas.microsoft.com/office/drawing/2014/main" id="{3F321C17-F3A7-4AE9-9B89-B4E3FAE66CB7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8948739" y="4535488"/>
            <a:ext cx="4937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8337986-D5F5-4B03-B1F4-DDE75309327E}" type="datetime'Q''1''F''''''''''''''''''Y2''''''''''2'''''''''''''''''">
              <a:rPr lang="en-US" altLang="en-US" smtClean="0">
                <a:solidFill>
                  <a:srgbClr val="000000"/>
                </a:solidFill>
              </a:rPr>
              <a:pPr/>
              <a:t>Q1FY22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539" name="Text Placeholder 3">
            <a:extLst>
              <a:ext uri="{FF2B5EF4-FFF2-40B4-BE49-F238E27FC236}">
                <a16:creationId xmlns:a16="http://schemas.microsoft.com/office/drawing/2014/main" id="{FD215458-EBBF-4C80-BFAB-51277F7A0D71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9871076" y="4535488"/>
            <a:ext cx="4937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F77285E-2F19-44E9-ACA1-6405E7994125}" type="datetime'''Q''''''''''''1F''Y2''''''''''''''''''''3'''">
              <a:rPr lang="en-US" altLang="en-US" smtClean="0">
                <a:solidFill>
                  <a:srgbClr val="000000"/>
                </a:solidFill>
              </a:rPr>
              <a:pPr/>
              <a:t>Q1FY23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545" name="Text Placeholder 3">
            <a:extLst>
              <a:ext uri="{FF2B5EF4-FFF2-40B4-BE49-F238E27FC236}">
                <a16:creationId xmlns:a16="http://schemas.microsoft.com/office/drawing/2014/main" id="{EBBB7B80-FD8F-44AE-8DB4-6E986D845C61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10795001" y="4535488"/>
            <a:ext cx="4937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B6A911D-0E5D-4C28-B189-A84432C8EF1B}" type="datetime'''''''''Q''''1F''''''Y''2''''''''''''''''''''''''''4'''''''">
              <a:rPr lang="en-US" altLang="en-US" smtClean="0">
                <a:solidFill>
                  <a:srgbClr val="000000"/>
                </a:solidFill>
              </a:rPr>
              <a:pPr/>
              <a:t>Q1FY24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543" name="Text Placeholder 2">
            <a:extLst>
              <a:ext uri="{FF2B5EF4-FFF2-40B4-BE49-F238E27FC236}">
                <a16:creationId xmlns:a16="http://schemas.microsoft.com/office/drawing/2014/main" id="{43CA2F82-24E8-4CD3-AE87-CE2BB38D54AB}"/>
              </a:ext>
            </a:extLst>
          </p:cNvPr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9056688" y="4064000"/>
            <a:ext cx="2778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E6B259D0-99FB-4710-81E8-D1FB955371AC}" type="datetime'1''''''''''''''''''''''''''0''''8'''''''''''''''''''''''">
              <a:rPr lang="en-GB" altLang="en-US" sz="1200" smtClean="0">
                <a:solidFill>
                  <a:srgbClr val="000000"/>
                </a:solidFill>
              </a:rPr>
              <a:pPr/>
              <a:t>108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547" name="Text Placeholder 2">
            <a:extLst>
              <a:ext uri="{FF2B5EF4-FFF2-40B4-BE49-F238E27FC236}">
                <a16:creationId xmlns:a16="http://schemas.microsoft.com/office/drawing/2014/main" id="{6E566604-7138-443C-AABB-786C15F2DCE9}"/>
              </a:ext>
            </a:extLst>
          </p:cNvPr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9979025" y="3717925"/>
            <a:ext cx="2778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735B2B3D-DC04-4EED-8504-320FF58796A9}" type="datetime'''''''''''''''''''''7''''''''''''''''24'''''''''''''''">
              <a:rPr lang="en-GB" altLang="en-US" sz="1200" smtClean="0">
                <a:solidFill>
                  <a:srgbClr val="000000"/>
                </a:solidFill>
              </a:rPr>
              <a:pPr/>
              <a:t>724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546" name="Text Placeholder 2">
            <a:extLst>
              <a:ext uri="{FF2B5EF4-FFF2-40B4-BE49-F238E27FC236}">
                <a16:creationId xmlns:a16="http://schemas.microsoft.com/office/drawing/2014/main" id="{78BE04B8-4C16-49BF-BBA6-8C2A3C2F8C33}"/>
              </a:ext>
            </a:extLst>
          </p:cNvPr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10902950" y="3763963"/>
            <a:ext cx="2778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64DAE133-D0BA-4371-9320-81429D914194}" type="datetime'6''''''''''''''''''''''''''''''''''''''''''''''5''''''''''''4'">
              <a:rPr lang="en-GB" altLang="en-US" sz="1200" smtClean="0">
                <a:solidFill>
                  <a:srgbClr val="000000"/>
                </a:solidFill>
              </a:rPr>
              <a:pPr/>
              <a:t>654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9509125" y="4160839"/>
            <a:ext cx="1603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14BDAB0-4440-4D3F-BEA6-E34AE4488B84}" type="datetime'''''''''''''''''''''''''''0'''''''''''''''''''''''">
              <a:rPr lang="en-GB" altLang="en-US" sz="1600" smtClean="0">
                <a:effectLst/>
                <a:sym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GB" sz="1600" dirty="0">
              <a:sym typeface="+mn-lt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9012238" y="4265614"/>
            <a:ext cx="366713" cy="219075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8575" tIns="0" rIns="2857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924B0BE-05B2-46BC-88F3-94C2C988C161}" type="datetime'''1''''''''''''''''''0''''''''''''''''''8'''''">
              <a:rPr lang="en-GB" altLang="en-US" sz="1600" smtClean="0">
                <a:solidFill>
                  <a:schemeClr val="bg1"/>
                </a:solidFill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8</a:t>
            </a:fld>
            <a:endParaRPr lang="en-GB" sz="16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>
            <a:off x="9985375" y="3919539"/>
            <a:ext cx="263525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EECC808-AE03-456F-916C-CAFD4F1AD164}" type="datetime'''''''''''''''''''''''''''''''''''''''7''''2'''''''''''''''''">
              <a:rPr lang="en-GB" altLang="en-US" sz="1600" smtClean="0">
                <a:solidFill>
                  <a:schemeClr val="bg1"/>
                </a:solidFill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2</a:t>
            </a:fld>
            <a:endParaRPr lang="en-GB" sz="16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5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11002963" y="3965576"/>
            <a:ext cx="366713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0E9BEB9-B817-467A-901A-8F5D2FA91A31}" type="datetime'''''''''''''''''1''''''''''''''''''''''''''0''''''''''''1'''''">
              <a:rPr lang="en-GB" altLang="en-US" sz="1600" smtClean="0">
                <a:solidFill>
                  <a:schemeClr val="bg1"/>
                </a:solidFill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1</a:t>
            </a:fld>
            <a:endParaRPr lang="en-GB" sz="16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67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>
            <a:off x="10714038" y="4144964"/>
            <a:ext cx="366713" cy="219075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8575" tIns="0" rIns="2857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23B7A43-858F-42DA-ABA9-70B5EABEE608}" type="datetime'5''''''''''5''''''''''''''''''''''3'">
              <a:rPr lang="en-GB" altLang="en-US" sz="1600" smtClean="0">
                <a:solidFill>
                  <a:schemeClr val="bg1"/>
                </a:solidFill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3</a:t>
            </a:fld>
            <a:endParaRPr lang="en-GB" sz="16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05"/>
            </p:custDataLst>
          </p:nvPr>
        </p:nvSpPr>
        <p:spPr bwMode="auto">
          <a:xfrm>
            <a:off x="9839325" y="3098800"/>
            <a:ext cx="593725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A11733B-FCC5-45E8-9AF1-5545F54F06EC}" type="datetime'''''''''''''''''''''+''''5''''0''''''''''''''''''''6'''''''''">
              <a:rPr lang="en-GB" altLang="en-US" sz="1200" smtClean="0">
                <a:solidFill>
                  <a:schemeClr val="accent1"/>
                </a:solidFill>
              </a:rPr>
              <a:pPr/>
              <a:t>+506</a:t>
            </a:fld>
            <a:r>
              <a:rPr lang="en-GB" altLang="en-US" sz="1200" dirty="0">
                <a:solidFill>
                  <a:schemeClr val="accent1"/>
                </a:solidFill>
              </a:rPr>
              <a:t>%</a:t>
            </a:r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43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06"/>
            </p:custDataLst>
          </p:nvPr>
        </p:nvSpPr>
        <p:spPr bwMode="auto">
          <a:xfrm>
            <a:off x="10339388" y="3409950"/>
            <a:ext cx="441325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solidFill>
                  <a:srgbClr val="FF0000"/>
                </a:solidFill>
              </a:rPr>
              <a:t>-</a:t>
            </a:r>
            <a:fld id="{CFC0654C-10B5-42FE-A551-33BA31DB3F92}" type="datetime'''''''1''''''0'''''''''''''''''''''''''''''''''''''''''">
              <a:rPr lang="en-GB" altLang="en-US" sz="1200" smtClean="0">
                <a:solidFill>
                  <a:srgbClr val="FF0000"/>
                </a:solidFill>
              </a:rPr>
              <a:pPr/>
              <a:t>10</a:t>
            </a:fld>
            <a:r>
              <a:rPr lang="en-GB" sz="1200" dirty="0">
                <a:solidFill>
                  <a:srgbClr val="FF0000"/>
                </a:solidFill>
                <a:sym typeface="+mn-lt"/>
              </a:rPr>
              <a:t>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12B7ED2-D299-A030-071C-5F68DD58CB15}"/>
              </a:ext>
            </a:extLst>
          </p:cNvPr>
          <p:cNvSpPr txBox="1"/>
          <p:nvPr/>
        </p:nvSpPr>
        <p:spPr>
          <a:xfrm>
            <a:off x="584107" y="2073276"/>
            <a:ext cx="904968" cy="1682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sym typeface="Trebuchet MS" panose="020B0603020202020204" pitchFamily="34" charset="0"/>
              </a:rPr>
              <a:t>Units sold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F386EEC-80A0-6F51-EDBB-375835044C19}"/>
              </a:ext>
            </a:extLst>
          </p:cNvPr>
          <p:cNvSpPr txBox="1"/>
          <p:nvPr/>
        </p:nvSpPr>
        <p:spPr>
          <a:xfrm>
            <a:off x="584201" y="2073275"/>
            <a:ext cx="904875" cy="1682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sym typeface="Trebuchet MS" panose="020B0603020202020204" pitchFamily="34" charset="0"/>
              </a:rPr>
              <a:t>Units sold</a:t>
            </a:r>
          </a:p>
        </p:txBody>
      </p:sp>
      <p:graphicFrame>
        <p:nvGraphicFramePr>
          <p:cNvPr id="475" name="Chart 474">
            <a:extLst>
              <a:ext uri="{FF2B5EF4-FFF2-40B4-BE49-F238E27FC236}">
                <a16:creationId xmlns:a16="http://schemas.microsoft.com/office/drawing/2014/main" id="{BF5F3353-6BEA-8EF1-EDAE-EF5362469598}"/>
              </a:ext>
            </a:extLst>
          </p:cNvPr>
          <p:cNvGraphicFramePr/>
          <p:nvPr>
            <p:custDataLst>
              <p:tags r:id="rId107"/>
            </p:custDataLst>
            <p:extLst>
              <p:ext uri="{D42A27DB-BD31-4B8C-83A1-F6EECF244321}">
                <p14:modId xmlns:p14="http://schemas.microsoft.com/office/powerpoint/2010/main" val="760340726"/>
              </p:ext>
            </p:extLst>
          </p:nvPr>
        </p:nvGraphicFramePr>
        <p:xfrm>
          <a:off x="444500" y="3152775"/>
          <a:ext cx="3571875" cy="2649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9"/>
          </a:graphicData>
        </a:graphic>
      </p:graphicFrame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8F53F97-7C1C-AE25-0B28-2D596725F157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gray">
          <a:xfrm flipV="1">
            <a:off x="1162050" y="2624138"/>
            <a:ext cx="0" cy="148431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0D163BA9-BCA6-A4EA-EC1E-2F7A55A09447}"/>
              </a:ext>
            </a:extLst>
          </p:cNvPr>
          <p:cNvCxnSpPr>
            <a:cxnSpLocks/>
          </p:cNvCxnSpPr>
          <p:nvPr>
            <p:custDataLst>
              <p:tags r:id="rId109"/>
            </p:custDataLst>
          </p:nvPr>
        </p:nvCxnSpPr>
        <p:spPr bwMode="gray">
          <a:xfrm>
            <a:off x="1162050" y="2624138"/>
            <a:ext cx="89058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51EFB5AA-C540-3703-0E54-5846708793C1}"/>
              </a:ext>
            </a:extLst>
          </p:cNvPr>
          <p:cNvCxnSpPr>
            <a:cxnSpLocks/>
          </p:cNvCxnSpPr>
          <p:nvPr>
            <p:custDataLst>
              <p:tags r:id="rId110"/>
            </p:custDataLst>
          </p:nvPr>
        </p:nvCxnSpPr>
        <p:spPr bwMode="gray">
          <a:xfrm>
            <a:off x="2444750" y="2624138"/>
            <a:ext cx="89058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69C0AB9-2CB7-7E69-F6C7-E37FB06C7897}"/>
              </a:ext>
            </a:extLst>
          </p:cNvPr>
          <p:cNvCxnSpPr/>
          <p:nvPr>
            <p:custDataLst>
              <p:tags r:id="rId111"/>
            </p:custDataLst>
          </p:nvPr>
        </p:nvCxnSpPr>
        <p:spPr bwMode="gray">
          <a:xfrm>
            <a:off x="3335338" y="2624139"/>
            <a:ext cx="0" cy="34607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D358004C-C16F-992B-2E30-8066E02BCA8C}"/>
              </a:ext>
            </a:extLst>
          </p:cNvPr>
          <p:cNvCxnSpPr/>
          <p:nvPr>
            <p:custDataLst>
              <p:tags r:id="rId112"/>
            </p:custDataLst>
          </p:nvPr>
        </p:nvCxnSpPr>
        <p:spPr bwMode="gray">
          <a:xfrm flipV="1">
            <a:off x="2230438" y="2817813"/>
            <a:ext cx="0" cy="53181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66C9292B-7DB3-5611-DDBF-EBDC8D0110A0}"/>
              </a:ext>
            </a:extLst>
          </p:cNvPr>
          <p:cNvCxnSpPr/>
          <p:nvPr>
            <p:custDataLst>
              <p:tags r:id="rId113"/>
            </p:custDataLst>
          </p:nvPr>
        </p:nvCxnSpPr>
        <p:spPr bwMode="gray">
          <a:xfrm>
            <a:off x="2230438" y="2817813"/>
            <a:ext cx="31908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DBAA7685-8285-3A58-48C3-C762FA32E3D4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gray">
          <a:xfrm>
            <a:off x="2941638" y="2817813"/>
            <a:ext cx="317500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FC315C32-4B2D-B32A-0AB9-BA34661F2D1C}"/>
              </a:ext>
            </a:extLst>
          </p:cNvPr>
          <p:cNvCxnSpPr/>
          <p:nvPr>
            <p:custDataLst>
              <p:tags r:id="rId115"/>
            </p:custDataLst>
          </p:nvPr>
        </p:nvCxnSpPr>
        <p:spPr bwMode="gray">
          <a:xfrm>
            <a:off x="3259138" y="2817813"/>
            <a:ext cx="0" cy="15240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47D3E421-9727-FCE6-EDEA-48A1982BB681}"/>
              </a:ext>
            </a:extLst>
          </p:cNvPr>
          <p:cNvSpPr>
            <a:spLocks noGrp="1"/>
          </p:cNvSpPr>
          <p:nvPr>
            <p:custDataLst>
              <p:tags r:id="rId116"/>
            </p:custDataLst>
          </p:nvPr>
        </p:nvSpPr>
        <p:spPr bwMode="gray">
          <a:xfrm>
            <a:off x="901700" y="4348163"/>
            <a:ext cx="520700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4661E8-6CDF-4AAE-B3F2-18B2340B2BDF}" type="datetime'''1'''''''''''''''''',''3''6''''''9'''''''''''''''''''''''''">
              <a:rPr lang="en-GB" altLang="en-US" sz="1600" smtClean="0">
                <a:solidFill>
                  <a:schemeClr val="bg1"/>
                </a:solidFill>
                <a:effectLst/>
              </a:rPr>
              <a:pPr/>
              <a:t>1,369</a:t>
            </a:fld>
            <a:endParaRPr lang="en-GB" sz="16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6" name="Text Placeholder 3">
            <a:extLst>
              <a:ext uri="{FF2B5EF4-FFF2-40B4-BE49-F238E27FC236}">
                <a16:creationId xmlns:a16="http://schemas.microsoft.com/office/drawing/2014/main" id="{7284C3B0-31F6-0332-6C33-6976D410A5C5}"/>
              </a:ext>
            </a:extLst>
          </p:cNvPr>
          <p:cNvSpPr>
            <a:spLocks noGrp="1"/>
          </p:cNvSpPr>
          <p:nvPr>
            <p:custDataLst>
              <p:tags r:id="rId117"/>
            </p:custDataLst>
          </p:nvPr>
        </p:nvSpPr>
        <p:spPr bwMode="auto">
          <a:xfrm>
            <a:off x="915989" y="5770563"/>
            <a:ext cx="4937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93F66D5-3E0C-4563-93CA-84F5AAB68115}" type="datetime'''''Q1''FY''''''''''''''''''''''''''''''''''''''''''''''22'''">
              <a:rPr lang="en-US" altLang="en-US" smtClean="0">
                <a:solidFill>
                  <a:srgbClr val="000000"/>
                </a:solidFill>
              </a:rPr>
              <a:pPr/>
              <a:t>Q1FY22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465" name="Text Placeholder 2">
            <a:extLst>
              <a:ext uri="{FF2B5EF4-FFF2-40B4-BE49-F238E27FC236}">
                <a16:creationId xmlns:a16="http://schemas.microsoft.com/office/drawing/2014/main" id="{2F6B9A8E-5725-FB47-6027-615B9568B7F5}"/>
              </a:ext>
            </a:extLst>
          </p:cNvPr>
          <p:cNvSpPr>
            <a:spLocks noGrp="1"/>
          </p:cNvSpPr>
          <p:nvPr>
            <p:custDataLst>
              <p:tags r:id="rId118"/>
            </p:custDataLst>
          </p:nvPr>
        </p:nvSpPr>
        <p:spPr bwMode="gray">
          <a:xfrm>
            <a:off x="1970088" y="3589339"/>
            <a:ext cx="520700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EB699CB-63B7-4A61-9021-3C57A254CB7F}" type="datetime'''1,7''''''''''''''''''''''''''3''''''''''''8'''''''''''''''''">
              <a:rPr lang="en-GB" altLang="en-US" sz="1600" smtClean="0">
                <a:solidFill>
                  <a:srgbClr val="FFFFFF"/>
                </a:solidFill>
                <a:effectLst/>
                <a:sym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738</a:t>
            </a:fld>
            <a:endParaRPr lang="en-GB" sz="16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D988CF1E-B720-C1E1-89EF-4521BB0204D5}"/>
              </a:ext>
            </a:extLst>
          </p:cNvPr>
          <p:cNvSpPr>
            <a:spLocks noGrp="1"/>
          </p:cNvSpPr>
          <p:nvPr>
            <p:custDataLst>
              <p:tags r:id="rId119"/>
            </p:custDataLst>
          </p:nvPr>
        </p:nvSpPr>
        <p:spPr bwMode="auto">
          <a:xfrm>
            <a:off x="1984376" y="5770563"/>
            <a:ext cx="4937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E6EC6A7-7564-4562-A649-9DB7FEF70733}" type="datetime'''''''''Q''''''''1''''F''''''''''''''''''''Y2''''''''''3'''">
              <a:rPr lang="en-US" altLang="en-US" smtClean="0">
                <a:solidFill>
                  <a:srgbClr val="000000"/>
                </a:solidFill>
              </a:rPr>
              <a:pPr/>
              <a:t>Q1FY23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15D277D5-CE2F-7158-57ED-7C779A43663F}"/>
              </a:ext>
            </a:extLst>
          </p:cNvPr>
          <p:cNvSpPr>
            <a:spLocks noGrp="1"/>
          </p:cNvSpPr>
          <p:nvPr>
            <p:custDataLst>
              <p:tags r:id="rId120"/>
            </p:custDataLst>
          </p:nvPr>
        </p:nvSpPr>
        <p:spPr bwMode="auto">
          <a:xfrm>
            <a:off x="3051176" y="5770563"/>
            <a:ext cx="4937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933F510-3623-42E8-9C23-E1E0C71CECEC}" type="datetime'''''''Q''1''''''''''''F''''''''''''''''''''Y''''''2''''4'''">
              <a:rPr lang="en-US" altLang="en-US" smtClean="0">
                <a:solidFill>
                  <a:srgbClr val="000000"/>
                </a:solidFill>
              </a:rPr>
              <a:pPr/>
              <a:t>Q1FY24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0CE33716-9209-94C7-6B45-92C61DE8DF06}"/>
              </a:ext>
            </a:extLst>
          </p:cNvPr>
          <p:cNvSpPr>
            <a:spLocks noGrp="1"/>
          </p:cNvSpPr>
          <p:nvPr>
            <p:custDataLst>
              <p:tags r:id="rId121"/>
            </p:custDataLst>
          </p:nvPr>
        </p:nvSpPr>
        <p:spPr bwMode="gray">
          <a:xfrm>
            <a:off x="927100" y="4146550"/>
            <a:ext cx="47148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67B137-857D-4B60-94C9-F222E9DC1924}" type="datetime'''''1''4'''''''''''''''''''''''''''''',''''5''''2''''6'">
              <a:rPr lang="en-GB" altLang="en-US" sz="1200" smtClean="0">
                <a:solidFill>
                  <a:srgbClr val="000000"/>
                </a:solidFill>
              </a:rPr>
              <a:pPr/>
              <a:t>14,526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359B2243-C4BC-6638-E3CD-65F8EBAE6E20}"/>
              </a:ext>
            </a:extLst>
          </p:cNvPr>
          <p:cNvSpPr>
            <a:spLocks noGrp="1"/>
          </p:cNvSpPr>
          <p:nvPr>
            <p:custDataLst>
              <p:tags r:id="rId122"/>
            </p:custDataLst>
          </p:nvPr>
        </p:nvSpPr>
        <p:spPr bwMode="gray">
          <a:xfrm>
            <a:off x="1995488" y="3387725"/>
            <a:ext cx="47148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083F2EF4-6D88-451B-B2EA-C3E0F3FDB4B0}" type="datetime'''''''2''''3'''',''03''''''''''''7'''''''''''''''''''''''''">
              <a:rPr lang="en-GB" altLang="en-US" sz="1200" smtClean="0">
                <a:solidFill>
                  <a:srgbClr val="000000"/>
                </a:solidFill>
              </a:rPr>
              <a:pPr/>
              <a:t>23,037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31F309BC-A481-C8C8-5860-396F810EF44F}"/>
              </a:ext>
            </a:extLst>
          </p:cNvPr>
          <p:cNvSpPr>
            <a:spLocks noGrp="1"/>
          </p:cNvSpPr>
          <p:nvPr>
            <p:custDataLst>
              <p:tags r:id="rId123"/>
            </p:custDataLst>
          </p:nvPr>
        </p:nvSpPr>
        <p:spPr bwMode="gray">
          <a:xfrm>
            <a:off x="3062288" y="3008313"/>
            <a:ext cx="47148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5FFCD62A-4A88-4989-BCD6-690484BCFF32}" type="datetime'''''''''''''''2''''''''''7'''',''''''''''''2''4''''4'">
              <a:rPr lang="en-GB" altLang="en-US" sz="1200" smtClean="0">
                <a:solidFill>
                  <a:srgbClr val="000000"/>
                </a:solidFill>
              </a:rPr>
              <a:pPr/>
              <a:t>27,244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964D3FB3-E47D-2F7F-4C13-762BADA9D116}"/>
              </a:ext>
            </a:extLst>
          </p:cNvPr>
          <p:cNvSpPr>
            <a:spLocks noGrp="1"/>
          </p:cNvSpPr>
          <p:nvPr>
            <p:custDataLst>
              <p:tags r:id="rId124"/>
            </p:custDataLst>
          </p:nvPr>
        </p:nvSpPr>
        <p:spPr bwMode="auto">
          <a:xfrm>
            <a:off x="2006600" y="2506663"/>
            <a:ext cx="484188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514A15-3A09-426C-BBC5-10D05965C472}" type="datetime'''+''''''''''8''''8''''''%'''''">
              <a:rPr lang="en-GB" altLang="en-US" sz="1200" smtClean="0">
                <a:solidFill>
                  <a:schemeClr val="accent1"/>
                </a:solidFill>
              </a:rPr>
              <a:pPr/>
              <a:t>+88%</a:t>
            </a:fld>
            <a:endParaRPr lang="en-GB" sz="1200" dirty="0">
              <a:solidFill>
                <a:schemeClr val="accent1"/>
              </a:solidFill>
              <a:sym typeface="+mn-lt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42B3F44A-30CB-C11D-1F43-3260E03DD23D}"/>
              </a:ext>
            </a:extLst>
          </p:cNvPr>
          <p:cNvSpPr>
            <a:spLocks noGrp="1"/>
          </p:cNvSpPr>
          <p:nvPr>
            <p:custDataLst>
              <p:tags r:id="rId125"/>
            </p:custDataLst>
          </p:nvPr>
        </p:nvSpPr>
        <p:spPr bwMode="auto">
          <a:xfrm>
            <a:off x="2503488" y="2700338"/>
            <a:ext cx="484188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chemeClr val="accent1"/>
                </a:solidFill>
                <a:sym typeface="+mn-lt"/>
              </a:rPr>
              <a:t>+18%</a:t>
            </a:r>
          </a:p>
        </p:txBody>
      </p:sp>
      <p:sp>
        <p:nvSpPr>
          <p:cNvPr id="449" name="Rectangle 448">
            <a:extLst>
              <a:ext uri="{FF2B5EF4-FFF2-40B4-BE49-F238E27FC236}">
                <a16:creationId xmlns:a16="http://schemas.microsoft.com/office/drawing/2014/main" id="{B4079FB2-41BC-A481-B342-6E2EBC8EE362}"/>
              </a:ext>
            </a:extLst>
          </p:cNvPr>
          <p:cNvSpPr/>
          <p:nvPr>
            <p:custDataLst>
              <p:tags r:id="rId126"/>
            </p:custDataLst>
          </p:nvPr>
        </p:nvSpPr>
        <p:spPr bwMode="gray">
          <a:xfrm>
            <a:off x="1223963" y="6124575"/>
            <a:ext cx="214313" cy="160338"/>
          </a:xfrm>
          <a:prstGeom prst="rect">
            <a:avLst/>
          </a:prstGeom>
          <a:solidFill>
            <a:srgbClr val="2959A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8" name="Rectangle 447">
            <a:extLst>
              <a:ext uri="{FF2B5EF4-FFF2-40B4-BE49-F238E27FC236}">
                <a16:creationId xmlns:a16="http://schemas.microsoft.com/office/drawing/2014/main" id="{F37E5075-B990-BC21-413A-2CBE87476CCE}"/>
              </a:ext>
            </a:extLst>
          </p:cNvPr>
          <p:cNvSpPr/>
          <p:nvPr>
            <p:custDataLst>
              <p:tags r:id="rId127"/>
            </p:custDataLst>
          </p:nvPr>
        </p:nvSpPr>
        <p:spPr bwMode="gray">
          <a:xfrm>
            <a:off x="2522538" y="6124575"/>
            <a:ext cx="214313" cy="160338"/>
          </a:xfrm>
          <a:prstGeom prst="rect">
            <a:avLst/>
          </a:prstGeom>
          <a:solidFill>
            <a:srgbClr val="0080F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6" name="Text Placeholder 3">
            <a:extLst>
              <a:ext uri="{FF2B5EF4-FFF2-40B4-BE49-F238E27FC236}">
                <a16:creationId xmlns:a16="http://schemas.microsoft.com/office/drawing/2014/main" id="{811B5900-002B-1FCC-AF74-9E1A4676ECF9}"/>
              </a:ext>
            </a:extLst>
          </p:cNvPr>
          <p:cNvSpPr>
            <a:spLocks noGrp="1"/>
          </p:cNvSpPr>
          <p:nvPr>
            <p:custDataLst>
              <p:tags r:id="rId128"/>
            </p:custDataLst>
          </p:nvPr>
        </p:nvSpPr>
        <p:spPr bwMode="auto">
          <a:xfrm>
            <a:off x="1489075" y="6105525"/>
            <a:ext cx="93186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  <a:defRPr/>
            </a:pPr>
            <a:fld id="{A58580AC-D764-4B33-A4BC-9E6A90C29808}" type="datetime'Dom''''''e''''''''''st''''i''''''c'' ''S''''''''ales'''''''">
              <a:rPr lang="en-US" altLang="en-US" smtClean="0">
                <a:solidFill>
                  <a:srgbClr val="000000"/>
                </a:solidFill>
              </a:rPr>
              <a:pPr lvl="0">
                <a:spcBef>
                  <a:spcPct val="0"/>
                </a:spcBef>
                <a:spcAft>
                  <a:spcPct val="0"/>
                </a:spcAft>
                <a:defRPr/>
              </a:pPr>
              <a:t>Domestic Sales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450" name="Text Placeholder 3">
            <a:extLst>
              <a:ext uri="{FF2B5EF4-FFF2-40B4-BE49-F238E27FC236}">
                <a16:creationId xmlns:a16="http://schemas.microsoft.com/office/drawing/2014/main" id="{2A17C99D-4098-F66F-F9F2-C7A374986530}"/>
              </a:ext>
            </a:extLst>
          </p:cNvPr>
          <p:cNvSpPr>
            <a:spLocks noGrp="1"/>
          </p:cNvSpPr>
          <p:nvPr>
            <p:custDataLst>
              <p:tags r:id="rId129"/>
            </p:custDataLst>
          </p:nvPr>
        </p:nvSpPr>
        <p:spPr bwMode="auto">
          <a:xfrm>
            <a:off x="2787650" y="6105525"/>
            <a:ext cx="4651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  <a:defRPr/>
            </a:pPr>
            <a:fld id="{54844B18-E9FE-479A-8733-B74FD28A68BB}" type="datetime'''E''x''''''po''r''''''''''''''''''''t''s'''">
              <a:rPr lang="en-US" altLang="en-US" smtClean="0">
                <a:solidFill>
                  <a:srgbClr val="000000"/>
                </a:solidFill>
              </a:rPr>
              <a:pPr lvl="0">
                <a:spcBef>
                  <a:spcPct val="0"/>
                </a:spcBef>
                <a:spcAft>
                  <a:spcPct val="0"/>
                </a:spcAft>
                <a:defRPr/>
              </a:pPr>
              <a:t>Exports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5644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Object 107" hidden="1">
            <a:extLst>
              <a:ext uri="{FF2B5EF4-FFF2-40B4-BE49-F238E27FC236}">
                <a16:creationId xmlns:a16="http://schemas.microsoft.com/office/drawing/2014/main" id="{0D2EC870-247B-4A34-BB53-00FE208689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3388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6" imgW="395" imgH="394" progId="TCLayout.ActiveDocument.1">
                  <p:embed/>
                </p:oleObj>
              </mc:Choice>
              <mc:Fallback>
                <p:oleObj name="think-cell Slide" r:id="rId176" imgW="395" imgH="394" progId="TCLayout.ActiveDocument.1">
                  <p:embed/>
                  <p:pic>
                    <p:nvPicPr>
                      <p:cNvPr id="108" name="Object 107" hidden="1">
                        <a:extLst>
                          <a:ext uri="{FF2B5EF4-FFF2-40B4-BE49-F238E27FC236}">
                            <a16:creationId xmlns:a16="http://schemas.microsoft.com/office/drawing/2014/main" id="{0D2EC870-247B-4A34-BB53-00FE208689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6B86E-EDE3-4634-B0B5-516E1D6241E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BBC4F53-FDE5-4CB5-B03C-D0AC408B33E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19101" y="205265"/>
            <a:ext cx="10933112" cy="331788"/>
          </a:xfrm>
        </p:spPr>
        <p:txBody>
          <a:bodyPr vert="horz">
            <a:no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+mn-lt"/>
              </a:rPr>
              <a:t>Industry Performance over the last 4 quarters</a:t>
            </a:r>
          </a:p>
        </p:txBody>
      </p:sp>
      <p:graphicFrame>
        <p:nvGraphicFramePr>
          <p:cNvPr id="93" name="Chart 92">
            <a:extLst>
              <a:ext uri="{FF2B5EF4-FFF2-40B4-BE49-F238E27FC236}">
                <a16:creationId xmlns:a16="http://schemas.microsoft.com/office/drawing/2014/main" id="{2C50BAC6-495F-D975-12C8-5E9CEB91233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7735372"/>
              </p:ext>
            </p:extLst>
          </p:nvPr>
        </p:nvGraphicFramePr>
        <p:xfrm>
          <a:off x="546100" y="2947988"/>
          <a:ext cx="3224213" cy="2746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8"/>
          </a:graphicData>
        </a:graphic>
      </p:graphicFrame>
      <p:cxnSp>
        <p:nvCxnSpPr>
          <p:cNvPr id="243" name="Straight Connector 242">
            <a:extLst>
              <a:ext uri="{FF2B5EF4-FFF2-40B4-BE49-F238E27FC236}">
                <a16:creationId xmlns:a16="http://schemas.microsoft.com/office/drawing/2014/main" id="{3F6091CB-BAE0-4473-8773-9074B34CEEF8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gray">
          <a:xfrm flipV="1">
            <a:off x="1011238" y="3078164"/>
            <a:ext cx="0" cy="52546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FAE40C09-FB2E-EEB5-A26C-12C08DEC9068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1011238" y="3078163"/>
            <a:ext cx="150812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8D7B1BFB-FBC2-1861-C50A-173AC1B2DA12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1589088" y="3078163"/>
            <a:ext cx="14922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A7DB03DA-4383-E65F-49F4-E923C6575C39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1738313" y="3078163"/>
            <a:ext cx="0" cy="15557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4572714-91A5-471F-B242-08128C407694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 flipV="1">
            <a:off x="1814513" y="2609849"/>
            <a:ext cx="0" cy="62388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7CA37DE-39C7-4D1A-8496-775D6ACE6428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1814513" y="2609850"/>
            <a:ext cx="13017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06A14FB-0B63-4D28-866C-6A5643A0DAF5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2371725" y="2609850"/>
            <a:ext cx="13017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5D3F31B-D306-4BD7-BAF4-6F1AFC10FE8C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2501900" y="2609850"/>
            <a:ext cx="0" cy="15557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439980E-F420-446C-8F71-7A42E3F0F396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 flipV="1">
            <a:off x="2578100" y="2609851"/>
            <a:ext cx="0" cy="15557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D427BC3-F782-493C-A219-E3FB45C01BF1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2578100" y="2609850"/>
            <a:ext cx="165100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5DF9099-DA1C-4671-82DC-E28B80B9BBBE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3140075" y="2609850"/>
            <a:ext cx="165100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1A9E9280-7E2B-4CD6-9082-5241A7A756D8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3305175" y="2609849"/>
            <a:ext cx="0" cy="66675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7A22642-C055-4FE6-8566-AA7535B65F2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47713" y="5662613"/>
            <a:ext cx="5286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AD51E125-F9A0-4AE4-ABCE-214C66209232}" type="datetime'''''''''Q2'' FY''''''''''''''''''''2''''''3'">
              <a:rPr lang="en-US" altLang="en-US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Q2 FY23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13" name="Text Placeholder 3">
            <a:extLst>
              <a:ext uri="{FF2B5EF4-FFF2-40B4-BE49-F238E27FC236}">
                <a16:creationId xmlns:a16="http://schemas.microsoft.com/office/drawing/2014/main" id="{2295F2E9-937E-4F09-905A-51830E05D67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512888" y="5662613"/>
            <a:ext cx="5286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5D248D09-1558-4CA1-B5E1-644CAB8675E1}" type="datetime'''Q''''''3'''''''''''''''''''''''' F''Y2''''''''''''''''3'">
              <a:rPr lang="en-US" altLang="en-US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Q3 FY23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95" name="Text Placeholder 3">
            <a:extLst>
              <a:ext uri="{FF2B5EF4-FFF2-40B4-BE49-F238E27FC236}">
                <a16:creationId xmlns:a16="http://schemas.microsoft.com/office/drawing/2014/main" id="{64DB21E5-267C-4E14-B62D-62EC319CB82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276475" y="5662613"/>
            <a:ext cx="5286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89132CB1-9BF6-4BB0-A967-1CA3CB579EDB}" type="datetime'''''''''Q''4'' F''''Y''2''''''''3'''''''">
              <a:rPr lang="en-US" altLang="en-US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Q4 FY23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08" name="Text Placeholder 3">
            <a:extLst>
              <a:ext uri="{FF2B5EF4-FFF2-40B4-BE49-F238E27FC236}">
                <a16:creationId xmlns:a16="http://schemas.microsoft.com/office/drawing/2014/main" id="{C818E27A-5293-4385-8693-F14C1DA0962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041650" y="5662613"/>
            <a:ext cx="5286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FF18DB93-DA66-47AF-BAF8-60C893B40610}" type="datetime'''Q1 ''''''''''''FY''''''''''2''''''''''4'''">
              <a:rPr lang="en-US" altLang="en-US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Q1 FY24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76288" y="3641725"/>
            <a:ext cx="4714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fld id="{DEAF99DB-C958-4DDA-AA6B-50632FC0EF11}" type="datetime'''''''''''''''''22,''''9''''''''''''''''''''''''4''1'''''''''">
              <a:rPr lang="en-GB" altLang="en-US" sz="1200" smtClean="0">
                <a:solidFill>
                  <a:srgbClr val="000000"/>
                </a:solidFill>
              </a:rPr>
              <a:pPr marL="0" lvl="0" indent="0"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2,941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5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541463" y="3271838"/>
            <a:ext cx="4714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fld id="{570F660C-32C3-47BB-8B88-79CAAB8B135D}" type="datetime'''''''2''7'''',''''''8''''''''''''''''''''''''''''17'''''">
              <a:rPr lang="en-GB" altLang="en-US" sz="1200" smtClean="0">
                <a:solidFill>
                  <a:srgbClr val="000000"/>
                </a:solidFill>
              </a:rPr>
              <a:pPr marL="0" lvl="0" indent="0"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7,817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96" name="Text Placeholder 2">
            <a:extLst>
              <a:ext uri="{FF2B5EF4-FFF2-40B4-BE49-F238E27FC236}">
                <a16:creationId xmlns:a16="http://schemas.microsoft.com/office/drawing/2014/main" id="{F30072CF-18A0-43D0-A760-28B58890F9D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305050" y="2803525"/>
            <a:ext cx="4714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1A792BA8-415D-48F9-9070-67899B0D3E1A}" type="datetime'''''''''''''''''''''33'''''''''''',''''''98''''''''4'''">
              <a:rPr lang="en-GB" altLang="en-US" sz="1200" smtClean="0">
                <a:solidFill>
                  <a:srgbClr val="000000"/>
                </a:solidFill>
              </a:rPr>
              <a:pPr marL="0" lvl="0" indent="0"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3,984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13" name="Text Placeholder 2">
            <a:extLst>
              <a:ext uri="{FF2B5EF4-FFF2-40B4-BE49-F238E27FC236}">
                <a16:creationId xmlns:a16="http://schemas.microsoft.com/office/drawing/2014/main" id="{CF466D75-FC3C-4CB0-A5FC-AA1C9065551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070225" y="3314700"/>
            <a:ext cx="4714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2108F691-8760-4275-BBF5-CB0EEEDE2540}" type="datetime'''''''''2''''7'''''',''''''''''''2''''''4''''''''4'">
              <a:rPr lang="en-GB" altLang="en-US" sz="1200" smtClean="0">
                <a:solidFill>
                  <a:srgbClr val="000000"/>
                </a:solidFill>
              </a:rPr>
              <a:pPr/>
              <a:t>27,244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108075" y="2960688"/>
            <a:ext cx="533400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2C87CD7-8D8C-4F4D-AF64-29020B520273}" type="datetime'''''''''''+''''''''''2''''1'''''''' ''''''''''''%'''''''''''''">
              <a:rPr lang="en-GB" altLang="en-US" sz="1200" smtClean="0">
                <a:solidFill>
                  <a:srgbClr val="4472C4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+21 %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9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890713" y="2492375"/>
            <a:ext cx="533400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0F1F32D-D202-4824-AFC4-81BA986CF4D8}" type="datetime'''''''''''''''+2''''''''2'''''''''''''''''''''' %'''''''''">
              <a:rPr lang="en-GB" altLang="en-US" sz="1200" smtClean="0">
                <a:solidFill>
                  <a:srgbClr val="4472C4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22 %</a:t>
            </a:fld>
            <a:endParaRPr lang="en-GB" sz="1200" dirty="0">
              <a:solidFill>
                <a:srgbClr val="4472C4"/>
              </a:solidFill>
              <a:sym typeface="+mn-lt"/>
            </a:endParaRPr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697163" y="2492375"/>
            <a:ext cx="490538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C5A0A3B-10DD-48EB-BD4E-D95330048893}" type="datetime'''-''''20'''''''''''''''''''' ''''%'''''''''''''''">
              <a:rPr lang="en-GB" altLang="en-US" sz="1200" smtClean="0">
                <a:solidFill>
                  <a:srgbClr val="D91D88"/>
                </a:solidFill>
              </a:rPr>
              <a:pPr/>
              <a:t>-20 %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D91D88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8CFE03-43BE-4DD4-9521-D81267300EB9}"/>
              </a:ext>
            </a:extLst>
          </p:cNvPr>
          <p:cNvSpPr/>
          <p:nvPr/>
        </p:nvSpPr>
        <p:spPr>
          <a:xfrm>
            <a:off x="629325" y="1726882"/>
            <a:ext cx="352091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5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Quarterly  sales across all equipment categories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FCE0EA7F-61B7-4D62-8515-B7BDF16235A3}"/>
              </a:ext>
            </a:extLst>
          </p:cNvPr>
          <p:cNvGrpSpPr/>
          <p:nvPr/>
        </p:nvGrpSpPr>
        <p:grpSpPr>
          <a:xfrm>
            <a:off x="4194004" y="1177609"/>
            <a:ext cx="306171" cy="5148754"/>
            <a:chOff x="4194004" y="1177609"/>
            <a:chExt cx="306171" cy="5148754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C071481-7A66-42FE-9D9A-EAAAD24E10FF}"/>
                </a:ext>
              </a:extLst>
            </p:cNvPr>
            <p:cNvCxnSpPr/>
            <p:nvPr/>
          </p:nvCxnSpPr>
          <p:spPr>
            <a:xfrm>
              <a:off x="4347090" y="1177609"/>
              <a:ext cx="0" cy="5148754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08F6007F-532C-490F-9104-BB80A64D21EE}"/>
                </a:ext>
              </a:extLst>
            </p:cNvPr>
            <p:cNvGrpSpPr/>
            <p:nvPr/>
          </p:nvGrpSpPr>
          <p:grpSpPr>
            <a:xfrm>
              <a:off x="4194004" y="3598531"/>
              <a:ext cx="306171" cy="306910"/>
              <a:chOff x="5937564" y="3833745"/>
              <a:chExt cx="306171" cy="306910"/>
            </a:xfrm>
          </p:grpSpPr>
          <p:sp>
            <p:nvSpPr>
              <p:cNvPr id="22" name="Freeform 94">
                <a:extLst>
                  <a:ext uri="{FF2B5EF4-FFF2-40B4-BE49-F238E27FC236}">
                    <a16:creationId xmlns:a16="http://schemas.microsoft.com/office/drawing/2014/main" id="{DACF5742-62C9-43E1-BCE7-AC2200CF972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" name="Freeform 95">
                <a:extLst>
                  <a:ext uri="{FF2B5EF4-FFF2-40B4-BE49-F238E27FC236}">
                    <a16:creationId xmlns:a16="http://schemas.microsoft.com/office/drawing/2014/main" id="{D4DD1921-45E0-4FCE-8C61-D5E21F6A3F1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48C6B6A-EE22-475E-BEE7-006FDCCB6AE1}"/>
              </a:ext>
            </a:extLst>
          </p:cNvPr>
          <p:cNvCxnSpPr/>
          <p:nvPr/>
        </p:nvCxnSpPr>
        <p:spPr>
          <a:xfrm>
            <a:off x="4660900" y="2807902"/>
            <a:ext cx="6854825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07E00DD-660D-4E35-B5B8-6A0468A23351}"/>
              </a:ext>
            </a:extLst>
          </p:cNvPr>
          <p:cNvCxnSpPr/>
          <p:nvPr/>
        </p:nvCxnSpPr>
        <p:spPr>
          <a:xfrm>
            <a:off x="4660900" y="4663369"/>
            <a:ext cx="6854825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5B5D043-044D-4ED3-949B-6B38C5EF27ED}"/>
              </a:ext>
            </a:extLst>
          </p:cNvPr>
          <p:cNvCxnSpPr>
            <a:cxnSpLocks/>
          </p:cNvCxnSpPr>
          <p:nvPr/>
        </p:nvCxnSpPr>
        <p:spPr>
          <a:xfrm flipV="1">
            <a:off x="8031163" y="2948687"/>
            <a:ext cx="0" cy="1606601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96">
            <a:extLst>
              <a:ext uri="{FF2B5EF4-FFF2-40B4-BE49-F238E27FC236}">
                <a16:creationId xmlns:a16="http://schemas.microsoft.com/office/drawing/2014/main" id="{740779A1-E91B-4C88-8D76-42A836C567A0}"/>
              </a:ext>
            </a:extLst>
          </p:cNvPr>
          <p:cNvSpPr/>
          <p:nvPr/>
        </p:nvSpPr>
        <p:spPr>
          <a:xfrm>
            <a:off x="4660900" y="1177610"/>
            <a:ext cx="468313" cy="1606601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CCAD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5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arthmoving Equipment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FBDAA5CA-BD2B-4992-A285-EA3B4B79B1C4}"/>
              </a:ext>
            </a:extLst>
          </p:cNvPr>
          <p:cNvSpPr/>
          <p:nvPr/>
        </p:nvSpPr>
        <p:spPr>
          <a:xfrm>
            <a:off x="4660900" y="2948687"/>
            <a:ext cx="461963" cy="1606601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CCAD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5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ad Construction Equipment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06DF792B-E74A-4428-8B11-B1455F114A91}"/>
              </a:ext>
            </a:extLst>
          </p:cNvPr>
          <p:cNvSpPr/>
          <p:nvPr/>
        </p:nvSpPr>
        <p:spPr>
          <a:xfrm>
            <a:off x="6045200" y="4719763"/>
            <a:ext cx="468313" cy="1606601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CCAD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5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crete Equipment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37F7995A-D56D-4A57-83CB-5A42FE74854E}"/>
              </a:ext>
            </a:extLst>
          </p:cNvPr>
          <p:cNvSpPr/>
          <p:nvPr/>
        </p:nvSpPr>
        <p:spPr>
          <a:xfrm>
            <a:off x="8186738" y="1177610"/>
            <a:ext cx="468313" cy="1606601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CCAD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5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terial Handling Equipment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8196DE5D-59D3-424E-A64A-71CDDD677ABB}"/>
              </a:ext>
            </a:extLst>
          </p:cNvPr>
          <p:cNvSpPr/>
          <p:nvPr/>
        </p:nvSpPr>
        <p:spPr>
          <a:xfrm>
            <a:off x="8189913" y="2948687"/>
            <a:ext cx="461963" cy="1606601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CCAD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5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terial Processing Equipment</a:t>
            </a:r>
          </a:p>
        </p:txBody>
      </p: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3DF2CCE8-C531-4537-B2DD-2C5117B2B65F}"/>
              </a:ext>
            </a:extLst>
          </p:cNvPr>
          <p:cNvCxnSpPr>
            <a:cxnSpLocks/>
          </p:cNvCxnSpPr>
          <p:nvPr/>
        </p:nvCxnSpPr>
        <p:spPr>
          <a:xfrm flipV="1">
            <a:off x="8031163" y="1177610"/>
            <a:ext cx="0" cy="1606601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 hidden="1">
            <a:extLst>
              <a:ext uri="{FF2B5EF4-FFF2-40B4-BE49-F238E27FC236}">
                <a16:creationId xmlns:a16="http://schemas.microsoft.com/office/drawing/2014/main" id="{8774DFAE-38E3-49A3-9DA0-FCE431FBCCE1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65" name="Rectangle 164" hidden="1">
            <a:extLst>
              <a:ext uri="{FF2B5EF4-FFF2-40B4-BE49-F238E27FC236}">
                <a16:creationId xmlns:a16="http://schemas.microsoft.com/office/drawing/2014/main" id="{C6161148-50E2-4E34-89A8-27C0C2FF874D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37" name="Rectangle 236" hidden="1">
            <a:extLst>
              <a:ext uri="{FF2B5EF4-FFF2-40B4-BE49-F238E27FC236}">
                <a16:creationId xmlns:a16="http://schemas.microsoft.com/office/drawing/2014/main" id="{5F434D3E-93CC-4981-BF0F-15CC7F69C4B7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+mn-lt"/>
            </a:endParaRPr>
          </a:p>
        </p:txBody>
      </p:sp>
      <p:graphicFrame>
        <p:nvGraphicFramePr>
          <p:cNvPr id="117" name="Chart 116">
            <a:extLst>
              <a:ext uri="{FF2B5EF4-FFF2-40B4-BE49-F238E27FC236}">
                <a16:creationId xmlns:a16="http://schemas.microsoft.com/office/drawing/2014/main" id="{EFC22F28-D573-8EC3-A39A-247E31746392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934962662"/>
              </p:ext>
            </p:extLst>
          </p:nvPr>
        </p:nvGraphicFramePr>
        <p:xfrm>
          <a:off x="5135563" y="1644650"/>
          <a:ext cx="2755900" cy="99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9"/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07BB276-8A39-4C8C-A5DE-978CF7BE7940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 flipV="1">
            <a:off x="5540375" y="1427163"/>
            <a:ext cx="0" cy="25558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A34E3E1-D539-4EC8-923D-6D0B8A24D95D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5540375" y="1427163"/>
            <a:ext cx="1095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7274299-B36E-49C0-9B95-83F801B870A4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6042025" y="1427163"/>
            <a:ext cx="107950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0C1BAE1-8958-45B8-B104-31EA60EF7A28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6149975" y="1427163"/>
            <a:ext cx="0" cy="15557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0B1BF70-1A2E-4E5C-A539-EB86D774A838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 flipV="1">
            <a:off x="6226175" y="1282699"/>
            <a:ext cx="0" cy="3000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7FA7AF5-C546-4960-A88F-C131B5D2EF16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6226175" y="1282700"/>
            <a:ext cx="9048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CF7F236-2A58-4C5B-B965-809B75A9F1AC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>
            <a:off x="6708775" y="1282700"/>
            <a:ext cx="88900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DFA6734-12BE-40E2-9D0A-CC7D33DEAA46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">
          <a:xfrm>
            <a:off x="6797675" y="1282701"/>
            <a:ext cx="0" cy="15557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FCF8C2C2-AA74-47E4-A58E-526E68557B3E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 flipV="1">
            <a:off x="6873875" y="1282700"/>
            <a:ext cx="0" cy="15557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CAE29848-C4A0-41E8-88DF-7863844763F6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>
            <a:off x="6873876" y="1282700"/>
            <a:ext cx="12382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84772DD3-0A8F-4E6B-9E16-A2CEF77F4157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>
            <a:off x="7359651" y="1282700"/>
            <a:ext cx="12382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B64EC9BB-372B-4CC5-B649-A41FAE525F7E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">
          <a:xfrm>
            <a:off x="7483475" y="1282699"/>
            <a:ext cx="0" cy="34448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343525" y="1922463"/>
            <a:ext cx="393700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B91E1F1-94F6-4610-866B-83B0FE779E4D}" type="datetime'''''''''1'''''''''''''''''''''''''''''''''''',44''1''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1,441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34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5305425" y="2208213"/>
            <a:ext cx="471488" cy="165100"/>
          </a:xfrm>
          <a:prstGeom prst="rect">
            <a:avLst/>
          </a:prstGeom>
          <a:solidFill>
            <a:srgbClr val="1E50A0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38CEEFF-51B4-4D3D-AD98-79975CBBE2A5}" type="datetime'1''''''''''5'''''''''',''''4''''''2''''''''''''0''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15,420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286" name="Text Placeholder 3">
            <a:extLst>
              <a:ext uri="{FF2B5EF4-FFF2-40B4-BE49-F238E27FC236}">
                <a16:creationId xmlns:a16="http://schemas.microsoft.com/office/drawing/2014/main" id="{A10E586F-8AA6-45FA-A54C-CE3CB3C8D918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5276850" y="2603500"/>
            <a:ext cx="5286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EEC25E13-DA72-4B27-8E03-2E809CE3630E}" type="datetime'''''''''''''''''''''''''Q''''''''''2'' ''''F''''Y2''''''''3'">
              <a:rPr lang="en-US" altLang="en-US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Q2 FY23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12" name="Text Placeholder 2">
            <a:extLst>
              <a:ext uri="{FF2B5EF4-FFF2-40B4-BE49-F238E27FC236}">
                <a16:creationId xmlns:a16="http://schemas.microsoft.com/office/drawing/2014/main" id="{CE3F4703-07D1-49D0-A80F-56B331E974B0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5991225" y="1822450"/>
            <a:ext cx="393700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8065455-C345-4467-9104-B86649DEFC6A}" type="datetime'''''''''''''''''''1'''''''''',''''8''''''''''''''7''7''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1,877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211" name="Text Placeholder 2">
            <a:extLst>
              <a:ext uri="{FF2B5EF4-FFF2-40B4-BE49-F238E27FC236}">
                <a16:creationId xmlns:a16="http://schemas.microsoft.com/office/drawing/2014/main" id="{35C2909E-37EA-4A7F-8625-765803DFE40A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953125" y="2162175"/>
            <a:ext cx="471488" cy="165100"/>
          </a:xfrm>
          <a:prstGeom prst="rect">
            <a:avLst/>
          </a:prstGeom>
          <a:solidFill>
            <a:srgbClr val="1E50A0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55B1A2C-86E9-410D-9E75-2D53887492EC}" type="datetime'1''''''''''''''8'''''''''''''',1''''8''''''''''6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18,186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209" name="Text Placeholder 3">
            <a:extLst>
              <a:ext uri="{FF2B5EF4-FFF2-40B4-BE49-F238E27FC236}">
                <a16:creationId xmlns:a16="http://schemas.microsoft.com/office/drawing/2014/main" id="{FB3B16DD-020F-42B5-B25D-67BEF841BEA8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5924550" y="2603500"/>
            <a:ext cx="5286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AF0B9D51-73E3-4135-AE56-8AF5B3210414}" type="datetime'''Q''3'''''''' ''''''''''''F''''''''''''Y''''''''''''''''23'''">
              <a:rPr lang="en-US" altLang="en-US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Q3 FY23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03" name="Text Placeholder 2">
            <a:extLst>
              <a:ext uri="{FF2B5EF4-FFF2-40B4-BE49-F238E27FC236}">
                <a16:creationId xmlns:a16="http://schemas.microsoft.com/office/drawing/2014/main" id="{DCA5FB90-0A8E-49C0-9E74-8C1B8FE33C2C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638925" y="1677988"/>
            <a:ext cx="393700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481B508-0780-4242-98B6-167FBD9D52C4}" type="datetime'''1'',''''''''''''''''''''''''''''9''''60''''''''''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1,960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202" name="Text Placeholder 2">
            <a:extLst>
              <a:ext uri="{FF2B5EF4-FFF2-40B4-BE49-F238E27FC236}">
                <a16:creationId xmlns:a16="http://schemas.microsoft.com/office/drawing/2014/main" id="{58D3356B-6807-41EA-A8A3-E943CC5D2A13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6600825" y="2090738"/>
            <a:ext cx="471488" cy="165100"/>
          </a:xfrm>
          <a:prstGeom prst="rect">
            <a:avLst/>
          </a:prstGeom>
          <a:solidFill>
            <a:srgbClr val="1E50A0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7556651-36C0-4C71-85C1-ADD76D189214}" type="datetime'''2''2'''''''''''''''''''''''''',''''''4''''''''17''''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22,417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200" name="Text Placeholder 3">
            <a:extLst>
              <a:ext uri="{FF2B5EF4-FFF2-40B4-BE49-F238E27FC236}">
                <a16:creationId xmlns:a16="http://schemas.microsoft.com/office/drawing/2014/main" id="{87A716CE-2B9F-4910-A534-E858F381C1D9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572250" y="2603500"/>
            <a:ext cx="5286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A921A3A1-4AB1-40CE-8F83-336495DE0901}" type="datetime'''''''''Q''''''''4'''''''''' ''''''F''Y''''2''''''''''''''3'''">
              <a:rPr lang="en-US" altLang="en-US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Q4 FY23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56" name="Text Placeholder 2">
            <a:extLst>
              <a:ext uri="{FF2B5EF4-FFF2-40B4-BE49-F238E27FC236}">
                <a16:creationId xmlns:a16="http://schemas.microsoft.com/office/drawing/2014/main" id="{27F90E3D-1E4A-4724-AD2A-AC47A162C88A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7286625" y="1866900"/>
            <a:ext cx="393700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D5FA0B2-E31A-43A3-A222-1C0DE4453113}" type="datetime'2'''''''''''''',''0''''''''''''''''''''''4''''''1''''''''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2,041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253" name="Text Placeholder 2">
            <a:extLst>
              <a:ext uri="{FF2B5EF4-FFF2-40B4-BE49-F238E27FC236}">
                <a16:creationId xmlns:a16="http://schemas.microsoft.com/office/drawing/2014/main" id="{CDF3E8FD-9C1D-4E6D-8CEE-9FD71F6F32E2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7248525" y="2185988"/>
            <a:ext cx="471488" cy="165100"/>
          </a:xfrm>
          <a:prstGeom prst="rect">
            <a:avLst/>
          </a:prstGeom>
          <a:solidFill>
            <a:srgbClr val="1E50A0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2DC6ECC-6E65-4525-95C6-CD5B8BB00D2B}" type="datetime'''1''''6'''''''''''''''',''7''''''''9''''''0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16,790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248" name="Text Placeholder 3">
            <a:extLst>
              <a:ext uri="{FF2B5EF4-FFF2-40B4-BE49-F238E27FC236}">
                <a16:creationId xmlns:a16="http://schemas.microsoft.com/office/drawing/2014/main" id="{97373EBF-C611-49B5-A861-FBE01F9D0228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7219950" y="2603500"/>
            <a:ext cx="5286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23FD4CB0-66CB-463B-8A9E-78D260DFB76F}" type="datetime'''''''''''Q''''1'''''' F''''''''Y''''''''''''''''2''''4'''''">
              <a:rPr lang="en-US" altLang="en-US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Q1 FY24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93" name="Text Placeholder 2">
            <a:extLst>
              <a:ext uri="{FF2B5EF4-FFF2-40B4-BE49-F238E27FC236}">
                <a16:creationId xmlns:a16="http://schemas.microsoft.com/office/drawing/2014/main" id="{7E7D4C8B-9D36-4A67-A7F1-6B47F3421DD2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5305425" y="1720850"/>
            <a:ext cx="4714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fld id="{FBE45653-EF0E-4C73-A216-42C3811452FD}" type="datetime'1''''''''''''''''6'''''''''''''''''''''''''',8''''''''61'''">
              <a:rPr lang="en-GB" altLang="en-US" sz="1200" smtClean="0">
                <a:solidFill>
                  <a:srgbClr val="000000"/>
                </a:solidFill>
              </a:rPr>
              <a:pPr marL="0" lvl="0" indent="0"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16,861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10" name="Text Placeholder 2">
            <a:extLst>
              <a:ext uri="{FF2B5EF4-FFF2-40B4-BE49-F238E27FC236}">
                <a16:creationId xmlns:a16="http://schemas.microsoft.com/office/drawing/2014/main" id="{4067AA28-3432-46C5-B19D-BCE1B59865B2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5953125" y="1620838"/>
            <a:ext cx="4714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103EDD4E-B14B-4A8D-BAC8-4C1C6F82AD90}" type="datetime'2''0,''0''''''''''''''''''''''''6''3'''''''''''''''''''''''">
              <a:rPr lang="en-GB" altLang="en-US" sz="1200" smtClean="0">
                <a:solidFill>
                  <a:srgbClr val="000000"/>
                </a:solidFill>
              </a:rPr>
              <a:pPr marL="0" lvl="0" indent="0"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0,063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01" name="Text Placeholder 2">
            <a:extLst>
              <a:ext uri="{FF2B5EF4-FFF2-40B4-BE49-F238E27FC236}">
                <a16:creationId xmlns:a16="http://schemas.microsoft.com/office/drawing/2014/main" id="{90440C29-16A9-4361-B34E-E3B71FC12F8F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6600825" y="1476375"/>
            <a:ext cx="4714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5E98D60F-A5F9-4260-B054-F9A85E79FEDD}" type="datetime'2''''''''''''4,''''3''''''''''''7''''''''''''7'''''''''''">
              <a:rPr lang="en-GB" altLang="en-US" sz="1200" smtClean="0">
                <a:solidFill>
                  <a:srgbClr val="000000"/>
                </a:solidFill>
              </a:rPr>
              <a:pPr marL="0" lvl="0" indent="0"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4,377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52" name="Text Placeholder 2">
            <a:extLst>
              <a:ext uri="{FF2B5EF4-FFF2-40B4-BE49-F238E27FC236}">
                <a16:creationId xmlns:a16="http://schemas.microsoft.com/office/drawing/2014/main" id="{906D1133-D1AB-4A7C-B3EE-6B6E6B9BBC04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7248525" y="1665288"/>
            <a:ext cx="471488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13D9F1F1-F7AE-462D-9573-C8F426B9574D}" type="datetime'''''''''''''1''''''''''''''''''''8'''''',''''''8''''3''''''1'">
              <a:rPr lang="en-GB" altLang="en-US" sz="1200" smtClean="0">
                <a:solidFill>
                  <a:srgbClr val="000000"/>
                </a:solidFill>
              </a:rPr>
              <a:pPr marL="0" lvl="0" indent="0"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8,831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5603875" y="1309688"/>
            <a:ext cx="484188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734017D-E082-495C-BC35-76628F659E9C}" type="datetime'''''''''''''''''''''''''''''''+''1''''9''''%'''''''''">
              <a:rPr lang="en-GB" altLang="en-US" sz="1200" smtClean="0">
                <a:solidFill>
                  <a:srgbClr val="4472C4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9%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0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6270624" y="1165225"/>
            <a:ext cx="484188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07491E3-9BA2-4403-B10C-2335D20EF2BA}" type="datetime'''''''''''''''+''''''22%'''''''''''''''''''''''''''''''''">
              <a:rPr lang="en-GB" altLang="en-US" sz="1200" smtClean="0">
                <a:solidFill>
                  <a:srgbClr val="4472C4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22%</a:t>
            </a:fld>
            <a:endParaRPr lang="en-GB" sz="1200" dirty="0">
              <a:solidFill>
                <a:srgbClr val="4472C4"/>
              </a:solidFill>
              <a:sym typeface="+mn-lt"/>
            </a:endParaRPr>
          </a:p>
        </p:txBody>
      </p:sp>
      <p:sp>
        <p:nvSpPr>
          <p:cNvPr id="27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6958013" y="1165225"/>
            <a:ext cx="441325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1EA52BA-9DFD-4E24-B2C6-1EBCE555FED3}" type="datetime'''''-''''''2''''''3''''''''''''''''%'''''''''''''''''">
              <a:rPr lang="en-GB" altLang="en-US" sz="1200" smtClean="0">
                <a:solidFill>
                  <a:srgbClr val="FF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3%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sym typeface="+mn-lt"/>
            </a:endParaRPr>
          </a:p>
        </p:txBody>
      </p:sp>
      <p:graphicFrame>
        <p:nvGraphicFramePr>
          <p:cNvPr id="512" name="Chart 511">
            <a:extLst>
              <a:ext uri="{FF2B5EF4-FFF2-40B4-BE49-F238E27FC236}">
                <a16:creationId xmlns:a16="http://schemas.microsoft.com/office/drawing/2014/main" id="{60D7B1A4-3BB6-4E38-1708-DE917B3F6538}"/>
              </a:ext>
            </a:extLst>
          </p:cNvPr>
          <p:cNvGraphicFramePr/>
          <p:nvPr>
            <p:custDataLst>
              <p:tags r:id="rId59"/>
            </p:custDataLst>
            <p:extLst>
              <p:ext uri="{D42A27DB-BD31-4B8C-83A1-F6EECF244321}">
                <p14:modId xmlns:p14="http://schemas.microsoft.com/office/powerpoint/2010/main" val="680830870"/>
              </p:ext>
            </p:extLst>
          </p:nvPr>
        </p:nvGraphicFramePr>
        <p:xfrm>
          <a:off x="5135563" y="3363913"/>
          <a:ext cx="2755900" cy="1074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0"/>
          </a:graphicData>
        </a:graphic>
      </p:graphicFrame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3D42568A-44B0-4ED7-8027-8602F8A20E01}"/>
              </a:ext>
            </a:extLst>
          </p:cNvPr>
          <p:cNvCxnSpPr/>
          <p:nvPr>
            <p:custDataLst>
              <p:tags r:id="rId60"/>
            </p:custDataLst>
          </p:nvPr>
        </p:nvCxnSpPr>
        <p:spPr bwMode="gray">
          <a:xfrm flipV="1">
            <a:off x="5540375" y="3132138"/>
            <a:ext cx="0" cy="47783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D05A401-F9C1-4115-8202-026F983A9118}"/>
              </a:ext>
            </a:extLst>
          </p:cNvPr>
          <p:cNvCxnSpPr/>
          <p:nvPr>
            <p:custDataLst>
              <p:tags r:id="rId61"/>
            </p:custDataLst>
          </p:nvPr>
        </p:nvCxnSpPr>
        <p:spPr bwMode="gray">
          <a:xfrm>
            <a:off x="5540376" y="3132138"/>
            <a:ext cx="9207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0C1831EB-829A-4EDC-BFD6-4C78338A407F}"/>
              </a:ext>
            </a:extLst>
          </p:cNvPr>
          <p:cNvCxnSpPr/>
          <p:nvPr>
            <p:custDataLst>
              <p:tags r:id="rId62"/>
            </p:custDataLst>
          </p:nvPr>
        </p:nvCxnSpPr>
        <p:spPr bwMode="gray">
          <a:xfrm>
            <a:off x="6059488" y="3132138"/>
            <a:ext cx="9048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B2755A4-C3C4-4175-9B65-2C79DC03EFB9}"/>
              </a:ext>
            </a:extLst>
          </p:cNvPr>
          <p:cNvCxnSpPr/>
          <p:nvPr>
            <p:custDataLst>
              <p:tags r:id="rId63"/>
            </p:custDataLst>
          </p:nvPr>
        </p:nvCxnSpPr>
        <p:spPr bwMode="gray">
          <a:xfrm>
            <a:off x="6149975" y="3132138"/>
            <a:ext cx="0" cy="15557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E74B1FBD-8CE2-4C4B-B046-2448E4BDCCE2}"/>
              </a:ext>
            </a:extLst>
          </p:cNvPr>
          <p:cNvCxnSpPr/>
          <p:nvPr>
            <p:custDataLst>
              <p:tags r:id="rId64"/>
            </p:custDataLst>
          </p:nvPr>
        </p:nvCxnSpPr>
        <p:spPr bwMode="gray">
          <a:xfrm flipV="1">
            <a:off x="6226175" y="2897188"/>
            <a:ext cx="0" cy="39052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2BE19323-D446-41BD-A7D3-064EFDC0F9CB}"/>
              </a:ext>
            </a:extLst>
          </p:cNvPr>
          <p:cNvCxnSpPr/>
          <p:nvPr>
            <p:custDataLst>
              <p:tags r:id="rId65"/>
            </p:custDataLst>
          </p:nvPr>
        </p:nvCxnSpPr>
        <p:spPr bwMode="gray">
          <a:xfrm>
            <a:off x="6226175" y="2897188"/>
            <a:ext cx="7302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ADAA7AD7-5163-4157-BF58-9907399E23C3}"/>
              </a:ext>
            </a:extLst>
          </p:cNvPr>
          <p:cNvCxnSpPr/>
          <p:nvPr>
            <p:custDataLst>
              <p:tags r:id="rId66"/>
            </p:custDataLst>
          </p:nvPr>
        </p:nvCxnSpPr>
        <p:spPr bwMode="gray">
          <a:xfrm>
            <a:off x="6726238" y="2897188"/>
            <a:ext cx="714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24CAFB90-378D-423D-B29D-C5DE72517D6D}"/>
              </a:ext>
            </a:extLst>
          </p:cNvPr>
          <p:cNvCxnSpPr/>
          <p:nvPr>
            <p:custDataLst>
              <p:tags r:id="rId67"/>
            </p:custDataLst>
          </p:nvPr>
        </p:nvCxnSpPr>
        <p:spPr bwMode="gray">
          <a:xfrm>
            <a:off x="6797675" y="2897188"/>
            <a:ext cx="0" cy="26987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6EB1315A-DBA2-48E5-AC19-4D507C1CE10A}"/>
              </a:ext>
            </a:extLst>
          </p:cNvPr>
          <p:cNvCxnSpPr/>
          <p:nvPr>
            <p:custDataLst>
              <p:tags r:id="rId68"/>
            </p:custDataLst>
          </p:nvPr>
        </p:nvCxnSpPr>
        <p:spPr bwMode="gray">
          <a:xfrm flipV="1">
            <a:off x="7483475" y="3011488"/>
            <a:ext cx="0" cy="32385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95E2333B-F647-44B6-87F1-F798478A591D}"/>
              </a:ext>
            </a:extLst>
          </p:cNvPr>
          <p:cNvCxnSpPr/>
          <p:nvPr>
            <p:custDataLst>
              <p:tags r:id="rId69"/>
            </p:custDataLst>
          </p:nvPr>
        </p:nvCxnSpPr>
        <p:spPr bwMode="gray">
          <a:xfrm flipH="1">
            <a:off x="7377114" y="3011488"/>
            <a:ext cx="106363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E06A82FA-0F4B-4FEA-9D60-37ABD68D2155}"/>
              </a:ext>
            </a:extLst>
          </p:cNvPr>
          <p:cNvCxnSpPr/>
          <p:nvPr>
            <p:custDataLst>
              <p:tags r:id="rId70"/>
            </p:custDataLst>
          </p:nvPr>
        </p:nvCxnSpPr>
        <p:spPr bwMode="gray">
          <a:xfrm flipH="1">
            <a:off x="6873875" y="3011488"/>
            <a:ext cx="106363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21F14F0A-2886-4091-856B-A83B8ABF01A0}"/>
              </a:ext>
            </a:extLst>
          </p:cNvPr>
          <p:cNvCxnSpPr/>
          <p:nvPr>
            <p:custDataLst>
              <p:tags r:id="rId71"/>
            </p:custDataLst>
          </p:nvPr>
        </p:nvCxnSpPr>
        <p:spPr bwMode="gray">
          <a:xfrm>
            <a:off x="6873875" y="3011488"/>
            <a:ext cx="0" cy="15557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6" name="Text Placeholder 2">
            <a:extLst>
              <a:ext uri="{FF2B5EF4-FFF2-40B4-BE49-F238E27FC236}">
                <a16:creationId xmlns:a16="http://schemas.microsoft.com/office/drawing/2014/main" id="{81D7A7A9-A260-4EE7-9E19-D7E779878C11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5440363" y="3849688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B497B20-3DAE-4C4F-AA30-91FE53EEEE58}" type="datetime'''''''''''''''''''''''''''''''''9''''''''1''''''''''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91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427" name="Text Placeholder 3">
            <a:extLst>
              <a:ext uri="{FF2B5EF4-FFF2-40B4-BE49-F238E27FC236}">
                <a16:creationId xmlns:a16="http://schemas.microsoft.com/office/drawing/2014/main" id="{B6B5309B-749B-4B49-B3B4-03D9B039FD70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5276850" y="4406900"/>
            <a:ext cx="5286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C999520E-094F-43D2-B1C0-D38B9FB07555}" type="datetime'''''''''''''''''''''Q''2'''' ''F''''Y''''''''''''''''''''23'">
              <a:rPr lang="en-US" altLang="en-US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Q2 FY23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61" name="Text Placeholder 2">
            <a:extLst>
              <a:ext uri="{FF2B5EF4-FFF2-40B4-BE49-F238E27FC236}">
                <a16:creationId xmlns:a16="http://schemas.microsoft.com/office/drawing/2014/main" id="{82F7510C-6AA0-4CA2-8DD5-955D4F214B70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6049963" y="3527425"/>
            <a:ext cx="277813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63F5973-7AB5-46D3-9E3A-3A89E1D3D87A}" type="datetime'1''''''''5''1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5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59" name="Text Placeholder 3">
            <a:extLst>
              <a:ext uri="{FF2B5EF4-FFF2-40B4-BE49-F238E27FC236}">
                <a16:creationId xmlns:a16="http://schemas.microsoft.com/office/drawing/2014/main" id="{1A0E1FA5-0851-47C0-9E8E-91C210C399A7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5924550" y="4406900"/>
            <a:ext cx="5286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2F94D281-094B-41AF-9524-12EBD55FD0AE}" type="datetime'''''''''Q''''3'''' F''''''''Y''2''''''''''''''3'''''''''''''">
              <a:rPr lang="en-US" altLang="en-US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Q3 FY23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21" name="Text Placeholder 2">
            <a:extLst>
              <a:ext uri="{FF2B5EF4-FFF2-40B4-BE49-F238E27FC236}">
                <a16:creationId xmlns:a16="http://schemas.microsoft.com/office/drawing/2014/main" id="{DB21F20D-FDAF-46D3-8F6E-F801CAE68F69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6697663" y="3406775"/>
            <a:ext cx="277813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C53731E-972A-4EB5-93BF-D1B94D3A2B21}" type="datetime'1''''''''''''''''5''''7''''''''''''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157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219" name="Text Placeholder 3">
            <a:extLst>
              <a:ext uri="{FF2B5EF4-FFF2-40B4-BE49-F238E27FC236}">
                <a16:creationId xmlns:a16="http://schemas.microsoft.com/office/drawing/2014/main" id="{342A02DA-EAFF-4A64-B65E-2442E6F7910E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6572250" y="4406900"/>
            <a:ext cx="5286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E90442FB-B6C7-4527-98F8-784CBE0FAE68}" type="datetime'Q''4'''''''''''''''''''''''' ''''''''''''''F''''''''Y2''''3'">
              <a:rPr lang="en-US" altLang="en-US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Q4 FY23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96" name="Text Placeholder 2">
            <a:extLst>
              <a:ext uri="{FF2B5EF4-FFF2-40B4-BE49-F238E27FC236}">
                <a16:creationId xmlns:a16="http://schemas.microsoft.com/office/drawing/2014/main" id="{7609B531-6E37-4B89-AE75-4EF0C8309906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7345363" y="3575050"/>
            <a:ext cx="277813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C5DE9D2-A538-473B-96B1-49CF90173FAC}" type="datetime'''''''''''''''''''''1''''''''''''''''''''''''3''''8''''''''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138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294" name="Text Placeholder 3">
            <a:extLst>
              <a:ext uri="{FF2B5EF4-FFF2-40B4-BE49-F238E27FC236}">
                <a16:creationId xmlns:a16="http://schemas.microsoft.com/office/drawing/2014/main" id="{47C46275-F6B5-48B4-84EF-9C0E0849B774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7219950" y="4406900"/>
            <a:ext cx="5286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B2A02A73-64B7-44AE-9E03-C1A7CB59B6BA}" type="datetime'''''''Q''''1'' ''''''''''''''F''''''''''''''''''''''Y''''24'''">
              <a:rPr lang="en-US" altLang="en-US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Q1 FY24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432" name="Text Placeholder 2">
            <a:extLst>
              <a:ext uri="{FF2B5EF4-FFF2-40B4-BE49-F238E27FC236}">
                <a16:creationId xmlns:a16="http://schemas.microsoft.com/office/drawing/2014/main" id="{61A6889E-8BB9-4903-8D55-508B80270CED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5402264" y="3648075"/>
            <a:ext cx="27781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fld id="{9160DF3C-3257-48D2-B368-86F4E06305A6}" type="datetime'''''''''''''''''''''''''''''''8''''''1''''''0'''''">
              <a:rPr lang="en-GB" altLang="en-US" sz="1200" smtClean="0">
                <a:solidFill>
                  <a:srgbClr val="000000"/>
                </a:solidFill>
              </a:rPr>
              <a:pPr marL="0" lvl="0" indent="0"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810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60" name="Text Placeholder 2">
            <a:extLst>
              <a:ext uri="{FF2B5EF4-FFF2-40B4-BE49-F238E27FC236}">
                <a16:creationId xmlns:a16="http://schemas.microsoft.com/office/drawing/2014/main" id="{7EEEF20D-8C56-44BA-976B-4C2B3BE6E104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5991225" y="3325813"/>
            <a:ext cx="3937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8610A7C9-1238-44FB-808C-8E2FDEF26F51}" type="datetime'''''''''''''''''''''''''1'''''''''',''41''''''''''''8'''">
              <a:rPr lang="en-GB" altLang="en-US" sz="1200" smtClean="0">
                <a:solidFill>
                  <a:srgbClr val="000000"/>
                </a:solidFill>
              </a:rPr>
              <a:pPr marL="0" lvl="0" indent="0"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,418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EDDB6902-7C14-465E-9F96-657CD3F85A30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6638924" y="3205163"/>
            <a:ext cx="3937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3DBE0042-62C8-449C-BF1B-9AAF608D0C69}" type="datetime'''1'',''''''''''''''''''6''''''''''''3''''''9'''''''''''">
              <a:rPr lang="en-GB" altLang="en-US" sz="1200" smtClean="0">
                <a:solidFill>
                  <a:srgbClr val="000000"/>
                </a:solidFill>
              </a:rPr>
              <a:pPr marL="0" lvl="0" indent="0"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,639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95" name="Text Placeholder 2">
            <a:extLst>
              <a:ext uri="{FF2B5EF4-FFF2-40B4-BE49-F238E27FC236}">
                <a16:creationId xmlns:a16="http://schemas.microsoft.com/office/drawing/2014/main" id="{46A05997-9C8A-4BE8-B1CB-A23BBEA3E7B4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7286624" y="3373438"/>
            <a:ext cx="3937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BE68E72A-AA3B-4A32-80F7-C4F549FB6D6D}" type="datetime'''''1'''''''''''''''''''''''''''''',3''''''''''''''2''6'''''">
              <a:rPr lang="en-GB" altLang="en-US" sz="1200" smtClean="0">
                <a:solidFill>
                  <a:srgbClr val="000000"/>
                </a:solidFill>
              </a:rPr>
              <a:pPr marL="0" lvl="0" indent="0"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,326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5578475" y="3014663"/>
            <a:ext cx="533400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3B0C162-0584-421F-8B73-C868322F9679}" type="datetime'''''''''+''''''7''''''''''5'''''' ''''%'''''">
              <a:rPr lang="en-GB" altLang="en-US" sz="1200" smtClean="0">
                <a:solidFill>
                  <a:srgbClr val="4472C4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75 %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51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6245225" y="2779713"/>
            <a:ext cx="533400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05A58A2-9C85-4657-80CB-41D1AACD92B0}" type="datetime'''''''''''''''+''''''''''''''''''''''''''''1''''6 %'">
              <a:rPr lang="en-GB" altLang="en-US" sz="1200" smtClean="0">
                <a:solidFill>
                  <a:srgbClr val="4472C4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6 %</a:t>
            </a:fld>
            <a:endParaRPr lang="en-GB" sz="1200" dirty="0">
              <a:solidFill>
                <a:srgbClr val="4472C4"/>
              </a:solidFill>
              <a:sym typeface="+mn-lt"/>
            </a:endParaRPr>
          </a:p>
        </p:txBody>
      </p:sp>
      <p:sp>
        <p:nvSpPr>
          <p:cNvPr id="304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6934200" y="2894013"/>
            <a:ext cx="490538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kumimoji="0" lang="en-GB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E71C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</a:t>
            </a:r>
            <a:fld id="{1755C70D-F836-4DEA-90F8-4F210B8EA8B6}" type="datetime'''''''''''''''''1''''9'''' ''%'''">
              <a:rPr lang="en-GB" altLang="en-US" sz="1200" smtClean="0">
                <a:solidFill>
                  <a:srgbClr val="E71C57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E71C57"/>
              </a:solidFill>
              <a:effectLst/>
              <a:uLnTx/>
              <a:uFillTx/>
              <a:sym typeface="+mn-lt"/>
            </a:endParaRPr>
          </a:p>
        </p:txBody>
      </p:sp>
      <p:graphicFrame>
        <p:nvGraphicFramePr>
          <p:cNvPr id="107" name="Chart 106">
            <a:extLst>
              <a:ext uri="{FF2B5EF4-FFF2-40B4-BE49-F238E27FC236}">
                <a16:creationId xmlns:a16="http://schemas.microsoft.com/office/drawing/2014/main" id="{97463C43-C3EC-2540-1370-96222F089027}"/>
              </a:ext>
            </a:extLst>
          </p:cNvPr>
          <p:cNvGraphicFramePr/>
          <p:nvPr>
            <p:custDataLst>
              <p:tags r:id="rId87"/>
            </p:custDataLst>
            <p:extLst>
              <p:ext uri="{D42A27DB-BD31-4B8C-83A1-F6EECF244321}">
                <p14:modId xmlns:p14="http://schemas.microsoft.com/office/powerpoint/2010/main" val="4051249018"/>
              </p:ext>
            </p:extLst>
          </p:nvPr>
        </p:nvGraphicFramePr>
        <p:xfrm>
          <a:off x="8739188" y="1644650"/>
          <a:ext cx="2755900" cy="99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1"/>
          </a:graphicData>
        </a:graphic>
      </p:graphicFrame>
      <p:cxnSp>
        <p:nvCxnSpPr>
          <p:cNvPr id="455" name="Straight Connector 454">
            <a:extLst>
              <a:ext uri="{FF2B5EF4-FFF2-40B4-BE49-F238E27FC236}">
                <a16:creationId xmlns:a16="http://schemas.microsoft.com/office/drawing/2014/main" id="{82B209E0-FA48-44CE-B124-A636767E3848}"/>
              </a:ext>
            </a:extLst>
          </p:cNvPr>
          <p:cNvCxnSpPr/>
          <p:nvPr>
            <p:custDataLst>
              <p:tags r:id="rId88"/>
            </p:custDataLst>
          </p:nvPr>
        </p:nvCxnSpPr>
        <p:spPr bwMode="gray">
          <a:xfrm flipV="1">
            <a:off x="9144000" y="1406525"/>
            <a:ext cx="0" cy="29368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6" name="Straight Connector 455">
            <a:extLst>
              <a:ext uri="{FF2B5EF4-FFF2-40B4-BE49-F238E27FC236}">
                <a16:creationId xmlns:a16="http://schemas.microsoft.com/office/drawing/2014/main" id="{F913339E-59D2-4ED5-B0A4-216E93DC97BF}"/>
              </a:ext>
            </a:extLst>
          </p:cNvPr>
          <p:cNvCxnSpPr/>
          <p:nvPr>
            <p:custDataLst>
              <p:tags r:id="rId89"/>
            </p:custDataLst>
          </p:nvPr>
        </p:nvCxnSpPr>
        <p:spPr bwMode="gray">
          <a:xfrm>
            <a:off x="9144000" y="1406525"/>
            <a:ext cx="1095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7" name="Straight Connector 456">
            <a:extLst>
              <a:ext uri="{FF2B5EF4-FFF2-40B4-BE49-F238E27FC236}">
                <a16:creationId xmlns:a16="http://schemas.microsoft.com/office/drawing/2014/main" id="{F356DA2F-E5B7-47CB-ADC6-0027562E8F73}"/>
              </a:ext>
            </a:extLst>
          </p:cNvPr>
          <p:cNvCxnSpPr/>
          <p:nvPr>
            <p:custDataLst>
              <p:tags r:id="rId90"/>
            </p:custDataLst>
          </p:nvPr>
        </p:nvCxnSpPr>
        <p:spPr bwMode="gray">
          <a:xfrm>
            <a:off x="9645650" y="1406525"/>
            <a:ext cx="107950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8" name="Straight Connector 457">
            <a:extLst>
              <a:ext uri="{FF2B5EF4-FFF2-40B4-BE49-F238E27FC236}">
                <a16:creationId xmlns:a16="http://schemas.microsoft.com/office/drawing/2014/main" id="{2960E988-98F3-404E-8EEB-FA77C5EFDE80}"/>
              </a:ext>
            </a:extLst>
          </p:cNvPr>
          <p:cNvCxnSpPr/>
          <p:nvPr>
            <p:custDataLst>
              <p:tags r:id="rId91"/>
            </p:custDataLst>
          </p:nvPr>
        </p:nvCxnSpPr>
        <p:spPr bwMode="gray">
          <a:xfrm>
            <a:off x="9753600" y="1406525"/>
            <a:ext cx="0" cy="15557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16EB448-839F-4475-84BE-BB41B0C2BFBE}"/>
              </a:ext>
            </a:extLst>
          </p:cNvPr>
          <p:cNvCxnSpPr/>
          <p:nvPr>
            <p:custDataLst>
              <p:tags r:id="rId92"/>
            </p:custDataLst>
          </p:nvPr>
        </p:nvCxnSpPr>
        <p:spPr bwMode="gray">
          <a:xfrm flipV="1">
            <a:off x="9829800" y="1260475"/>
            <a:ext cx="0" cy="30162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DF56E23-EA1F-406C-B476-0E81297B25E0}"/>
              </a:ext>
            </a:extLst>
          </p:cNvPr>
          <p:cNvCxnSpPr/>
          <p:nvPr>
            <p:custDataLst>
              <p:tags r:id="rId93"/>
            </p:custDataLst>
          </p:nvPr>
        </p:nvCxnSpPr>
        <p:spPr bwMode="gray">
          <a:xfrm>
            <a:off x="9829800" y="1260475"/>
            <a:ext cx="9048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6A5A40A-50A5-4475-BC05-1F2D6755A3CD}"/>
              </a:ext>
            </a:extLst>
          </p:cNvPr>
          <p:cNvCxnSpPr/>
          <p:nvPr>
            <p:custDataLst>
              <p:tags r:id="rId94"/>
            </p:custDataLst>
          </p:nvPr>
        </p:nvCxnSpPr>
        <p:spPr bwMode="gray">
          <a:xfrm>
            <a:off x="10312400" y="1260475"/>
            <a:ext cx="88900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E5EC618-D1CE-4DF8-BFF8-406ACA02648D}"/>
              </a:ext>
            </a:extLst>
          </p:cNvPr>
          <p:cNvCxnSpPr/>
          <p:nvPr>
            <p:custDataLst>
              <p:tags r:id="rId95"/>
            </p:custDataLst>
          </p:nvPr>
        </p:nvCxnSpPr>
        <p:spPr bwMode="gray">
          <a:xfrm>
            <a:off x="10401300" y="1260475"/>
            <a:ext cx="0" cy="15557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8317F81E-1786-4F6B-B925-95F0B37A27F1}"/>
              </a:ext>
            </a:extLst>
          </p:cNvPr>
          <p:cNvCxnSpPr/>
          <p:nvPr>
            <p:custDataLst>
              <p:tags r:id="rId96"/>
            </p:custDataLst>
          </p:nvPr>
        </p:nvCxnSpPr>
        <p:spPr bwMode="gray">
          <a:xfrm flipV="1">
            <a:off x="10477500" y="1260475"/>
            <a:ext cx="0" cy="15557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3132A69C-B117-4921-8FE8-F9473D25FC7E}"/>
              </a:ext>
            </a:extLst>
          </p:cNvPr>
          <p:cNvCxnSpPr/>
          <p:nvPr>
            <p:custDataLst>
              <p:tags r:id="rId97"/>
            </p:custDataLst>
          </p:nvPr>
        </p:nvCxnSpPr>
        <p:spPr bwMode="gray">
          <a:xfrm>
            <a:off x="10477500" y="1260475"/>
            <a:ext cx="163513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3B947ECD-68C1-4BC7-A657-0EA03EEE7FA0}"/>
              </a:ext>
            </a:extLst>
          </p:cNvPr>
          <p:cNvCxnSpPr/>
          <p:nvPr>
            <p:custDataLst>
              <p:tags r:id="rId98"/>
            </p:custDataLst>
          </p:nvPr>
        </p:nvCxnSpPr>
        <p:spPr bwMode="gray">
          <a:xfrm>
            <a:off x="10925175" y="1260475"/>
            <a:ext cx="16192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73A49400-9487-4896-BAE0-D16BF46FF95D}"/>
              </a:ext>
            </a:extLst>
          </p:cNvPr>
          <p:cNvCxnSpPr/>
          <p:nvPr>
            <p:custDataLst>
              <p:tags r:id="rId99"/>
            </p:custDataLst>
          </p:nvPr>
        </p:nvCxnSpPr>
        <p:spPr bwMode="gray">
          <a:xfrm>
            <a:off x="11087100" y="1260475"/>
            <a:ext cx="0" cy="188913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2" name="Text Placeholder 2">
            <a:extLst>
              <a:ext uri="{FF2B5EF4-FFF2-40B4-BE49-F238E27FC236}">
                <a16:creationId xmlns:a16="http://schemas.microsoft.com/office/drawing/2014/main" id="{415AF2E0-6CC5-4439-9FDB-65510C37A1C2}"/>
              </a:ext>
            </a:extLst>
          </p:cNvPr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9043988" y="1939925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E637FDA-4BE6-4C68-98A3-8E8B24F51E8D}" type="datetime'''''''''''''''''''''''''''''''''''8''''''''''7'">
              <a:rPr lang="en-GB" altLang="en-US" sz="1200" smtClean="0">
                <a:solidFill>
                  <a:srgbClr val="FFFFFF"/>
                </a:solidFill>
                <a:effectLst/>
              </a:rPr>
              <a:pPr/>
              <a:t>87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461" name="Text Placeholder 3">
            <a:extLst>
              <a:ext uri="{FF2B5EF4-FFF2-40B4-BE49-F238E27FC236}">
                <a16:creationId xmlns:a16="http://schemas.microsoft.com/office/drawing/2014/main" id="{387B9573-D745-48BE-BABB-474E3E2B777F}"/>
              </a:ext>
            </a:extLst>
          </p:cNvPr>
          <p:cNvSpPr>
            <a:spLocks noGrp="1"/>
          </p:cNvSpPr>
          <p:nvPr>
            <p:custDataLst>
              <p:tags r:id="rId101"/>
            </p:custDataLst>
          </p:nvPr>
        </p:nvSpPr>
        <p:spPr bwMode="auto">
          <a:xfrm>
            <a:off x="8880475" y="2603500"/>
            <a:ext cx="5286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49C04C57-6455-4D01-A738-4801CD98158A}" type="datetime'''''Q''''''2'''''''''''''''''' ''''''F''''''''Y''''2''''''3'''">
              <a:rPr lang="en-US" altLang="en-US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Q2 FY23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462" name="Text Placeholder 2">
            <a:extLst>
              <a:ext uri="{FF2B5EF4-FFF2-40B4-BE49-F238E27FC236}">
                <a16:creationId xmlns:a16="http://schemas.microsoft.com/office/drawing/2014/main" id="{EAE858C9-36A1-413C-8E99-76453BDC5770}"/>
              </a:ext>
            </a:extLst>
          </p:cNvPr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>
            <a:off x="9691688" y="1801813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8F3B396-CD73-46F3-9627-347DDB29830F}" type="datetime'''''''8''''''''''''''''''5''''''''''''''''''''''''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85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463" name="Text Placeholder 3">
            <a:extLst>
              <a:ext uri="{FF2B5EF4-FFF2-40B4-BE49-F238E27FC236}">
                <a16:creationId xmlns:a16="http://schemas.microsoft.com/office/drawing/2014/main" id="{DB6584B5-B82A-410E-BEB0-1F5BAE7EFA46}"/>
              </a:ext>
            </a:extLst>
          </p:cNvPr>
          <p:cNvSpPr>
            <a:spLocks noGrp="1"/>
          </p:cNvSpPr>
          <p:nvPr>
            <p:custDataLst>
              <p:tags r:id="rId103"/>
            </p:custDataLst>
          </p:nvPr>
        </p:nvSpPr>
        <p:spPr bwMode="auto">
          <a:xfrm>
            <a:off x="9528175" y="2603500"/>
            <a:ext cx="5286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14140549-287F-4758-8FD9-6C30D9A1EE0D}" type="datetime'Q''3'''''' ''''''''FY''''''2''''''3'''''''''''''''''">
              <a:rPr lang="en-US" altLang="en-US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Q3 FY23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29" name="Text Placeholder 2">
            <a:extLst>
              <a:ext uri="{FF2B5EF4-FFF2-40B4-BE49-F238E27FC236}">
                <a16:creationId xmlns:a16="http://schemas.microsoft.com/office/drawing/2014/main" id="{0805208D-0D3B-44B3-AD8C-403F19C49132}"/>
              </a:ext>
            </a:extLst>
          </p:cNvPr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>
            <a:off x="10301288" y="1655763"/>
            <a:ext cx="277813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AC07CCB-9FFA-437F-B841-37C12EDDF059}" type="datetime'''1''''''''''''''''''''''0''''''9''''''''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109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227" name="Text Placeholder 3">
            <a:extLst>
              <a:ext uri="{FF2B5EF4-FFF2-40B4-BE49-F238E27FC236}">
                <a16:creationId xmlns:a16="http://schemas.microsoft.com/office/drawing/2014/main" id="{F378200D-0DD6-4053-889E-7871F83C232D}"/>
              </a:ext>
            </a:extLst>
          </p:cNvPr>
          <p:cNvSpPr>
            <a:spLocks noGrp="1"/>
          </p:cNvSpPr>
          <p:nvPr>
            <p:custDataLst>
              <p:tags r:id="rId105"/>
            </p:custDataLst>
          </p:nvPr>
        </p:nvSpPr>
        <p:spPr bwMode="auto">
          <a:xfrm>
            <a:off x="10175875" y="2603500"/>
            <a:ext cx="5286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8C7F625B-5064-4C0F-8A43-0734BF03A089}" type="datetime'''''''''''''''''''Q''''4'' ''''''''FY''2''''''''''3'''''''''">
              <a:rPr lang="en-US" altLang="en-US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Q4 FY23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17" name="Text Placeholder 2">
            <a:extLst>
              <a:ext uri="{FF2B5EF4-FFF2-40B4-BE49-F238E27FC236}">
                <a16:creationId xmlns:a16="http://schemas.microsoft.com/office/drawing/2014/main" id="{E4B1CBD3-A1B6-4223-BE79-8D3626D39AD2}"/>
              </a:ext>
            </a:extLst>
          </p:cNvPr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10987088" y="1689100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F867D4D-9CFB-4C5A-A582-1DFE45E462CB}" type="datetime'''''''''''''''''''''''''''''''''''''''99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99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214" name="Text Placeholder 3">
            <a:extLst>
              <a:ext uri="{FF2B5EF4-FFF2-40B4-BE49-F238E27FC236}">
                <a16:creationId xmlns:a16="http://schemas.microsoft.com/office/drawing/2014/main" id="{2B6CE3EC-1616-4CDB-A5FC-450FAED18FC5}"/>
              </a:ext>
            </a:extLst>
          </p:cNvPr>
          <p:cNvSpPr>
            <a:spLocks noGrp="1"/>
          </p:cNvSpPr>
          <p:nvPr>
            <p:custDataLst>
              <p:tags r:id="rId107"/>
            </p:custDataLst>
          </p:nvPr>
        </p:nvSpPr>
        <p:spPr bwMode="auto">
          <a:xfrm>
            <a:off x="10823575" y="2603500"/>
            <a:ext cx="5286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C8A4689E-50F6-446E-8AC3-A9E4D2103735}" type="datetime'Q''''1'''''''''''' ''''''''F''''''''''Y''''2''''''''4'''''">
              <a:rPr lang="en-US" altLang="en-US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Q1 FY24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467" name="Text Placeholder 2">
            <a:extLst>
              <a:ext uri="{FF2B5EF4-FFF2-40B4-BE49-F238E27FC236}">
                <a16:creationId xmlns:a16="http://schemas.microsoft.com/office/drawing/2014/main" id="{3D18745F-53A2-4CD8-BB0F-254E25DBBEC1}"/>
              </a:ext>
            </a:extLst>
          </p:cNvPr>
          <p:cNvSpPr>
            <a:spLocks noGrp="1"/>
          </p:cNvSpPr>
          <p:nvPr>
            <p:custDataLst>
              <p:tags r:id="rId108"/>
            </p:custDataLst>
          </p:nvPr>
        </p:nvSpPr>
        <p:spPr bwMode="gray">
          <a:xfrm>
            <a:off x="8947150" y="1738313"/>
            <a:ext cx="3937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fld id="{78F0840D-98CC-4669-8C9E-6A2B494BBCB5}" type="datetime'''''''''''2,''''''''''''''4''''''''''5''''''''''''''1'">
              <a:rPr lang="en-GB" altLang="en-US" sz="1200" smtClean="0">
                <a:solidFill>
                  <a:srgbClr val="000000"/>
                </a:solidFill>
              </a:rPr>
              <a:pPr marL="0" lvl="0" indent="0"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,451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468" name="Text Placeholder 2">
            <a:extLst>
              <a:ext uri="{FF2B5EF4-FFF2-40B4-BE49-F238E27FC236}">
                <a16:creationId xmlns:a16="http://schemas.microsoft.com/office/drawing/2014/main" id="{FD53C723-297F-4D32-AF65-AC753F370A2D}"/>
              </a:ext>
            </a:extLst>
          </p:cNvPr>
          <p:cNvSpPr>
            <a:spLocks noGrp="1"/>
          </p:cNvSpPr>
          <p:nvPr>
            <p:custDataLst>
              <p:tags r:id="rId109"/>
            </p:custDataLst>
          </p:nvPr>
        </p:nvSpPr>
        <p:spPr bwMode="gray">
          <a:xfrm>
            <a:off x="9594850" y="1600200"/>
            <a:ext cx="3937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fld id="{58B4F22E-1B12-4DC2-8494-E30371CA55A5}" type="datetime'3'''''''''',''0''''''''7''''''''''''''''''5'''''''''''''''''''">
              <a:rPr lang="en-GB" altLang="en-US" sz="1200" smtClean="0">
                <a:solidFill>
                  <a:srgbClr val="000000"/>
                </a:solidFill>
              </a:rPr>
              <a:pPr marL="0" lvl="0" indent="0"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3,075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28" name="Text Placeholder 2">
            <a:extLst>
              <a:ext uri="{FF2B5EF4-FFF2-40B4-BE49-F238E27FC236}">
                <a16:creationId xmlns:a16="http://schemas.microsoft.com/office/drawing/2014/main" id="{F78D8E9D-0648-4348-9C53-A207D917D99C}"/>
              </a:ext>
            </a:extLst>
          </p:cNvPr>
          <p:cNvSpPr>
            <a:spLocks noGrp="1"/>
          </p:cNvSpPr>
          <p:nvPr>
            <p:custDataLst>
              <p:tags r:id="rId110"/>
            </p:custDataLst>
          </p:nvPr>
        </p:nvSpPr>
        <p:spPr bwMode="gray">
          <a:xfrm>
            <a:off x="10242550" y="1454150"/>
            <a:ext cx="3937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72472A-D13B-4FFD-8C38-51457C0C6750}" type="datetime'''3'''''''''''',7''''''''''''''''''''''5''1'''''''''''''''">
              <a:rPr lang="en-GB" altLang="en-US" sz="1200" smtClean="0">
                <a:solidFill>
                  <a:srgbClr val="000000"/>
                </a:solidFill>
              </a:rPr>
              <a:pPr marL="0" lvl="0" indent="0"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,751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16" name="Text Placeholder 2">
            <a:extLst>
              <a:ext uri="{FF2B5EF4-FFF2-40B4-BE49-F238E27FC236}">
                <a16:creationId xmlns:a16="http://schemas.microsoft.com/office/drawing/2014/main" id="{29062492-13B4-49A2-BC4D-1F0F39F9B6C7}"/>
              </a:ext>
            </a:extLst>
          </p:cNvPr>
          <p:cNvSpPr>
            <a:spLocks noGrp="1"/>
          </p:cNvSpPr>
          <p:nvPr>
            <p:custDataLst>
              <p:tags r:id="rId111"/>
            </p:custDataLst>
          </p:nvPr>
        </p:nvSpPr>
        <p:spPr bwMode="gray">
          <a:xfrm>
            <a:off x="10890250" y="1487488"/>
            <a:ext cx="3937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0CA43072-31FA-4535-ADB3-1875D4437117}" type="datetime'''3'''''',''''''''''''''''5''''''''''''96'''''''">
              <a:rPr lang="en-GB" altLang="en-US" sz="1200" smtClean="0">
                <a:solidFill>
                  <a:srgbClr val="000000"/>
                </a:solidFill>
              </a:rPr>
              <a:pPr marL="0" lvl="0" indent="0"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,596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476" name="Text Placeholder 2">
            <a:extLst>
              <a:ext uri="{FF2B5EF4-FFF2-40B4-BE49-F238E27FC236}">
                <a16:creationId xmlns:a16="http://schemas.microsoft.com/office/drawing/2014/main" id="{2ECD7D02-D44E-43FC-A2EA-74090AD1AD2F}"/>
              </a:ext>
            </a:extLst>
          </p:cNvPr>
          <p:cNvSpPr>
            <a:spLocks noGrp="1"/>
          </p:cNvSpPr>
          <p:nvPr>
            <p:custDataLst>
              <p:tags r:id="rId112"/>
            </p:custDataLst>
          </p:nvPr>
        </p:nvSpPr>
        <p:spPr bwMode="auto">
          <a:xfrm>
            <a:off x="9207500" y="1289050"/>
            <a:ext cx="484188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1D94EE9-DF35-4470-BE29-1855C260A5F0}" type="datetime'''''+''2''''''''''''''''''''5''''''''%'''''''''''''">
              <a:rPr lang="en-GB" altLang="en-US" sz="1200" smtClean="0">
                <a:solidFill>
                  <a:srgbClr val="4472C4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+25%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3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13"/>
            </p:custDataLst>
          </p:nvPr>
        </p:nvSpPr>
        <p:spPr bwMode="auto">
          <a:xfrm>
            <a:off x="9874250" y="1143000"/>
            <a:ext cx="484188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939A2EE-58CA-4E23-AF46-F70134F7B80F}" type="datetime'+''''''''2''''''2''''''''''''''''''''''''%'">
              <a:rPr lang="en-GB" altLang="en-US" sz="1200" smtClean="0">
                <a:solidFill>
                  <a:srgbClr val="4472C4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22%</a:t>
            </a:fld>
            <a:endParaRPr lang="en-GB" sz="1200" dirty="0">
              <a:solidFill>
                <a:srgbClr val="4472C4"/>
              </a:solidFill>
              <a:sym typeface="+mn-lt"/>
            </a:endParaRPr>
          </a:p>
        </p:txBody>
      </p:sp>
      <p:sp>
        <p:nvSpPr>
          <p:cNvPr id="24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14"/>
            </p:custDataLst>
          </p:nvPr>
        </p:nvSpPr>
        <p:spPr bwMode="auto">
          <a:xfrm>
            <a:off x="10617200" y="1143000"/>
            <a:ext cx="330200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4BF6E23-5A48-40F3-AD8B-91760616CEB0}" type="datetime'''-''''''''''''''''''''''''''4''%'">
              <a:rPr lang="en-GB" altLang="en-US" sz="1200" smtClean="0">
                <a:solidFill>
                  <a:srgbClr val="FF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4%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sym typeface="+mn-lt"/>
            </a:endParaRPr>
          </a:p>
        </p:txBody>
      </p:sp>
      <p:graphicFrame>
        <p:nvGraphicFramePr>
          <p:cNvPr id="125" name="Chart 124">
            <a:extLst>
              <a:ext uri="{FF2B5EF4-FFF2-40B4-BE49-F238E27FC236}">
                <a16:creationId xmlns:a16="http://schemas.microsoft.com/office/drawing/2014/main" id="{00ACB8EE-3788-1E2C-CDAB-CD5D5E43810C}"/>
              </a:ext>
            </a:extLst>
          </p:cNvPr>
          <p:cNvGraphicFramePr/>
          <p:nvPr>
            <p:custDataLst>
              <p:tags r:id="rId115"/>
            </p:custDataLst>
            <p:extLst>
              <p:ext uri="{D42A27DB-BD31-4B8C-83A1-F6EECF244321}">
                <p14:modId xmlns:p14="http://schemas.microsoft.com/office/powerpoint/2010/main" val="2770021296"/>
              </p:ext>
            </p:extLst>
          </p:nvPr>
        </p:nvGraphicFramePr>
        <p:xfrm>
          <a:off x="8739188" y="3451225"/>
          <a:ext cx="2755900" cy="941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2"/>
          </a:graphicData>
        </a:graphic>
      </p:graphicFrame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C11E9291-567D-4060-A745-9DA79A84E460}"/>
              </a:ext>
            </a:extLst>
          </p:cNvPr>
          <p:cNvCxnSpPr/>
          <p:nvPr>
            <p:custDataLst>
              <p:tags r:id="rId116"/>
            </p:custDataLst>
          </p:nvPr>
        </p:nvCxnSpPr>
        <p:spPr bwMode="gray">
          <a:xfrm flipV="1">
            <a:off x="9144000" y="3187699"/>
            <a:ext cx="0" cy="17780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E5CC7D92-3DB2-469B-9E5C-7ADD0AB1912E}"/>
              </a:ext>
            </a:extLst>
          </p:cNvPr>
          <p:cNvCxnSpPr/>
          <p:nvPr>
            <p:custDataLst>
              <p:tags r:id="rId117"/>
            </p:custDataLst>
          </p:nvPr>
        </p:nvCxnSpPr>
        <p:spPr bwMode="gray">
          <a:xfrm>
            <a:off x="9144000" y="3187700"/>
            <a:ext cx="1476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A10045A0-9BAB-44F9-B890-59FC5F4B11F5}"/>
              </a:ext>
            </a:extLst>
          </p:cNvPr>
          <p:cNvCxnSpPr/>
          <p:nvPr>
            <p:custDataLst>
              <p:tags r:id="rId118"/>
            </p:custDataLst>
          </p:nvPr>
        </p:nvCxnSpPr>
        <p:spPr bwMode="gray">
          <a:xfrm>
            <a:off x="9605963" y="3187700"/>
            <a:ext cx="1476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6EAF469F-366C-49A2-9BD1-2EBCD6BC1E2F}"/>
              </a:ext>
            </a:extLst>
          </p:cNvPr>
          <p:cNvCxnSpPr/>
          <p:nvPr>
            <p:custDataLst>
              <p:tags r:id="rId119"/>
            </p:custDataLst>
          </p:nvPr>
        </p:nvCxnSpPr>
        <p:spPr bwMode="gray">
          <a:xfrm>
            <a:off x="9753600" y="3187700"/>
            <a:ext cx="0" cy="15240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858662AA-D9E0-4D93-BDFC-72C38DD16F89}"/>
              </a:ext>
            </a:extLst>
          </p:cNvPr>
          <p:cNvCxnSpPr/>
          <p:nvPr>
            <p:custDataLst>
              <p:tags r:id="rId120"/>
            </p:custDataLst>
          </p:nvPr>
        </p:nvCxnSpPr>
        <p:spPr bwMode="gray">
          <a:xfrm flipV="1">
            <a:off x="9829800" y="3203576"/>
            <a:ext cx="0" cy="13652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B18BEA62-9138-47D8-8D77-D46ECBC97F92}"/>
              </a:ext>
            </a:extLst>
          </p:cNvPr>
          <p:cNvCxnSpPr/>
          <p:nvPr>
            <p:custDataLst>
              <p:tags r:id="rId121"/>
            </p:custDataLst>
          </p:nvPr>
        </p:nvCxnSpPr>
        <p:spPr bwMode="gray">
          <a:xfrm>
            <a:off x="9829800" y="3203575"/>
            <a:ext cx="144463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A88283B9-E3FF-4868-8628-2A20AA4824B1}"/>
              </a:ext>
            </a:extLst>
          </p:cNvPr>
          <p:cNvCxnSpPr/>
          <p:nvPr>
            <p:custDataLst>
              <p:tags r:id="rId122"/>
            </p:custDataLst>
          </p:nvPr>
        </p:nvCxnSpPr>
        <p:spPr bwMode="gray">
          <a:xfrm>
            <a:off x="10258425" y="3203575"/>
            <a:ext cx="14287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169A4F55-35C2-4F07-9900-E6EF05C61A88}"/>
              </a:ext>
            </a:extLst>
          </p:cNvPr>
          <p:cNvCxnSpPr/>
          <p:nvPr>
            <p:custDataLst>
              <p:tags r:id="rId123"/>
            </p:custDataLst>
          </p:nvPr>
        </p:nvCxnSpPr>
        <p:spPr bwMode="gray">
          <a:xfrm>
            <a:off x="10401300" y="3203575"/>
            <a:ext cx="0" cy="15240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8715CCF8-0087-47B1-A708-B9149E46B941}"/>
              </a:ext>
            </a:extLst>
          </p:cNvPr>
          <p:cNvCxnSpPr/>
          <p:nvPr>
            <p:custDataLst>
              <p:tags r:id="rId124"/>
            </p:custDataLst>
          </p:nvPr>
        </p:nvCxnSpPr>
        <p:spPr bwMode="gray">
          <a:xfrm flipV="1">
            <a:off x="10477500" y="3113087"/>
            <a:ext cx="0" cy="242888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F99A6C5D-7A07-4B1F-9CC3-9C6585FCDAC2}"/>
              </a:ext>
            </a:extLst>
          </p:cNvPr>
          <p:cNvCxnSpPr/>
          <p:nvPr>
            <p:custDataLst>
              <p:tags r:id="rId125"/>
            </p:custDataLst>
          </p:nvPr>
        </p:nvCxnSpPr>
        <p:spPr bwMode="gray">
          <a:xfrm>
            <a:off x="10477500" y="3113088"/>
            <a:ext cx="1095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084C9121-8110-4328-998D-88053D61160D}"/>
              </a:ext>
            </a:extLst>
          </p:cNvPr>
          <p:cNvCxnSpPr/>
          <p:nvPr>
            <p:custDataLst>
              <p:tags r:id="rId126"/>
            </p:custDataLst>
          </p:nvPr>
        </p:nvCxnSpPr>
        <p:spPr bwMode="gray">
          <a:xfrm>
            <a:off x="10979150" y="3113088"/>
            <a:ext cx="107950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C87C93EA-502F-4F21-9B45-C20C769D08EB}"/>
              </a:ext>
            </a:extLst>
          </p:cNvPr>
          <p:cNvCxnSpPr/>
          <p:nvPr>
            <p:custDataLst>
              <p:tags r:id="rId127"/>
            </p:custDataLst>
          </p:nvPr>
        </p:nvCxnSpPr>
        <p:spPr bwMode="gray">
          <a:xfrm>
            <a:off x="11087100" y="3113089"/>
            <a:ext cx="0" cy="15557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06" name="Text Placeholder 2">
            <a:extLst>
              <a:ext uri="{FF2B5EF4-FFF2-40B4-BE49-F238E27FC236}">
                <a16:creationId xmlns:a16="http://schemas.microsoft.com/office/drawing/2014/main" id="{29DD0DBB-2BB8-44C6-AEC0-062EB90FD79B}"/>
              </a:ext>
            </a:extLst>
          </p:cNvPr>
          <p:cNvSpPr>
            <a:spLocks noGrp="1"/>
          </p:cNvSpPr>
          <p:nvPr>
            <p:custDataLst>
              <p:tags r:id="rId128"/>
            </p:custDataLst>
          </p:nvPr>
        </p:nvSpPr>
        <p:spPr bwMode="gray">
          <a:xfrm>
            <a:off x="9043988" y="3605213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DAFC9D1-AB17-447C-9E13-54D4002D051D}" type="datetime'''''''''''6''''''2''''''''''''''''''''''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62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507" name="Text Placeholder 3">
            <a:extLst>
              <a:ext uri="{FF2B5EF4-FFF2-40B4-BE49-F238E27FC236}">
                <a16:creationId xmlns:a16="http://schemas.microsoft.com/office/drawing/2014/main" id="{C04E7957-EB5D-4776-B30C-475557DACBA4}"/>
              </a:ext>
            </a:extLst>
          </p:cNvPr>
          <p:cNvSpPr>
            <a:spLocks noGrp="1"/>
          </p:cNvSpPr>
          <p:nvPr>
            <p:custDataLst>
              <p:tags r:id="rId129"/>
            </p:custDataLst>
          </p:nvPr>
        </p:nvSpPr>
        <p:spPr bwMode="auto">
          <a:xfrm>
            <a:off x="8880475" y="4360863"/>
            <a:ext cx="5286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70603E18-5FA2-4F7C-A92E-632FC6DC1542}" type="datetime'''''Q2'''''''''''' FY''''''2''''''''''''''''3'''''''">
              <a:rPr lang="en-US" altLang="en-US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Q2 FY23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07" name="Text Placeholder 2">
            <a:extLst>
              <a:ext uri="{FF2B5EF4-FFF2-40B4-BE49-F238E27FC236}">
                <a16:creationId xmlns:a16="http://schemas.microsoft.com/office/drawing/2014/main" id="{F780920C-7415-4624-AE7A-7D11DB6496C4}"/>
              </a:ext>
            </a:extLst>
          </p:cNvPr>
          <p:cNvSpPr>
            <a:spLocks noGrp="1"/>
          </p:cNvSpPr>
          <p:nvPr>
            <p:custDataLst>
              <p:tags r:id="rId130"/>
            </p:custDataLst>
          </p:nvPr>
        </p:nvSpPr>
        <p:spPr bwMode="gray">
          <a:xfrm>
            <a:off x="9691688" y="3579813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BDC5DFB-F560-4907-A343-518D5F4F85B6}" type="datetime'''''''''''''''''''''''73''''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73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305" name="Text Placeholder 3">
            <a:extLst>
              <a:ext uri="{FF2B5EF4-FFF2-40B4-BE49-F238E27FC236}">
                <a16:creationId xmlns:a16="http://schemas.microsoft.com/office/drawing/2014/main" id="{9601588B-3373-4947-921D-E20264561B2A}"/>
              </a:ext>
            </a:extLst>
          </p:cNvPr>
          <p:cNvSpPr>
            <a:spLocks noGrp="1"/>
          </p:cNvSpPr>
          <p:nvPr>
            <p:custDataLst>
              <p:tags r:id="rId131"/>
            </p:custDataLst>
          </p:nvPr>
        </p:nvSpPr>
        <p:spPr bwMode="auto">
          <a:xfrm>
            <a:off x="9528175" y="4360863"/>
            <a:ext cx="5286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0EBC2F03-350C-478F-89D0-3E6C01E57479}" type="datetime'''''''''''Q''3'''''''''''''' F''Y''''''''''''2''3'''''''''''">
              <a:rPr lang="en-US" altLang="en-US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Q3 FY23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26" name="Text Placeholder 2">
            <a:extLst>
              <a:ext uri="{FF2B5EF4-FFF2-40B4-BE49-F238E27FC236}">
                <a16:creationId xmlns:a16="http://schemas.microsoft.com/office/drawing/2014/main" id="{4C44711E-7370-4831-9CC9-0A2B306BA62A}"/>
              </a:ext>
            </a:extLst>
          </p:cNvPr>
          <p:cNvSpPr>
            <a:spLocks noGrp="1"/>
          </p:cNvSpPr>
          <p:nvPr>
            <p:custDataLst>
              <p:tags r:id="rId132"/>
            </p:custDataLst>
          </p:nvPr>
        </p:nvSpPr>
        <p:spPr bwMode="gray">
          <a:xfrm>
            <a:off x="10339388" y="3595688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C7F3FFF-22A7-48F1-AC29-B34D52D28ADD}" type="datetime'''''''''''''''''''''''7''''''''''''''''''''''''''''3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73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223" name="Text Placeholder 3">
            <a:extLst>
              <a:ext uri="{FF2B5EF4-FFF2-40B4-BE49-F238E27FC236}">
                <a16:creationId xmlns:a16="http://schemas.microsoft.com/office/drawing/2014/main" id="{8F5C02FF-B087-4AB7-AB69-003428262E56}"/>
              </a:ext>
            </a:extLst>
          </p:cNvPr>
          <p:cNvSpPr>
            <a:spLocks noGrp="1"/>
          </p:cNvSpPr>
          <p:nvPr>
            <p:custDataLst>
              <p:tags r:id="rId133"/>
            </p:custDataLst>
          </p:nvPr>
        </p:nvSpPr>
        <p:spPr bwMode="auto">
          <a:xfrm>
            <a:off x="10175875" y="4360863"/>
            <a:ext cx="5286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A4125932-79BF-4CFB-B248-782BA07E77D0}" type="datetime'''''''''''''''Q''''''''4 ''''''''F''''''Y23'''''''">
              <a:rPr lang="en-US" altLang="en-US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Q4 FY23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16" name="Text Placeholder 2">
            <a:extLst>
              <a:ext uri="{FF2B5EF4-FFF2-40B4-BE49-F238E27FC236}">
                <a16:creationId xmlns:a16="http://schemas.microsoft.com/office/drawing/2014/main" id="{EE04E825-96B4-4372-A266-8DC55D866E6A}"/>
              </a:ext>
            </a:extLst>
          </p:cNvPr>
          <p:cNvSpPr>
            <a:spLocks noGrp="1"/>
          </p:cNvSpPr>
          <p:nvPr>
            <p:custDataLst>
              <p:tags r:id="rId134"/>
            </p:custDataLst>
          </p:nvPr>
        </p:nvSpPr>
        <p:spPr bwMode="gray">
          <a:xfrm>
            <a:off x="10948988" y="3511550"/>
            <a:ext cx="277813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A33A2F0-E6F5-4D86-B652-BF33413DC8A6}" type="datetime'1''''''''''''0''''''''''''''''''''''''''''''''1'">
              <a:rPr lang="en-GB" altLang="en-US" sz="1200" smtClean="0">
                <a:solidFill>
                  <a:srgbClr val="FFFFFF"/>
                </a:solidFill>
                <a:effectLst/>
              </a:rPr>
              <a:pPr/>
              <a:t>101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314" name="Text Placeholder 3">
            <a:extLst>
              <a:ext uri="{FF2B5EF4-FFF2-40B4-BE49-F238E27FC236}">
                <a16:creationId xmlns:a16="http://schemas.microsoft.com/office/drawing/2014/main" id="{4924B20B-D926-4BD8-8E95-6705B802B9B4}"/>
              </a:ext>
            </a:extLst>
          </p:cNvPr>
          <p:cNvSpPr>
            <a:spLocks noGrp="1"/>
          </p:cNvSpPr>
          <p:nvPr>
            <p:custDataLst>
              <p:tags r:id="rId135"/>
            </p:custDataLst>
          </p:nvPr>
        </p:nvSpPr>
        <p:spPr bwMode="auto">
          <a:xfrm>
            <a:off x="10823575" y="4360863"/>
            <a:ext cx="5286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325F2449-CB98-4E58-84B4-EC15711B9E4C}" type="datetime'''''''''Q1 F''''''''''''Y''''2''''''''''''''''''''''4'''">
              <a:rPr lang="en-US" altLang="en-US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Q1 FY24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509" name="Text Placeholder 2">
            <a:extLst>
              <a:ext uri="{FF2B5EF4-FFF2-40B4-BE49-F238E27FC236}">
                <a16:creationId xmlns:a16="http://schemas.microsoft.com/office/drawing/2014/main" id="{96A7A004-5BC7-4982-84FB-4D55259F764F}"/>
              </a:ext>
            </a:extLst>
          </p:cNvPr>
          <p:cNvSpPr>
            <a:spLocks noGrp="1"/>
          </p:cNvSpPr>
          <p:nvPr>
            <p:custDataLst>
              <p:tags r:id="rId136"/>
            </p:custDataLst>
          </p:nvPr>
        </p:nvSpPr>
        <p:spPr bwMode="gray">
          <a:xfrm>
            <a:off x="9005888" y="3403600"/>
            <a:ext cx="27781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fld id="{2102560E-813E-4323-9396-235800995E08}" type="datetime'''''5''''''''''''''5''''''5'''''''''''''''''''''''''''">
              <a:rPr lang="en-GB" altLang="en-US" sz="1200" smtClean="0">
                <a:solidFill>
                  <a:srgbClr val="000000"/>
                </a:solidFill>
              </a:rPr>
              <a:pPr marL="0" lvl="0" indent="0"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555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06" name="Text Placeholder 2">
            <a:extLst>
              <a:ext uri="{FF2B5EF4-FFF2-40B4-BE49-F238E27FC236}">
                <a16:creationId xmlns:a16="http://schemas.microsoft.com/office/drawing/2014/main" id="{705CE545-77FA-4CA8-A827-DA0467DC07F8}"/>
              </a:ext>
            </a:extLst>
          </p:cNvPr>
          <p:cNvSpPr>
            <a:spLocks noGrp="1"/>
          </p:cNvSpPr>
          <p:nvPr>
            <p:custDataLst>
              <p:tags r:id="rId137"/>
            </p:custDataLst>
          </p:nvPr>
        </p:nvSpPr>
        <p:spPr bwMode="gray">
          <a:xfrm>
            <a:off x="9653588" y="3378200"/>
            <a:ext cx="27781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925B0A70-AABC-421B-B50B-FD6DDC45EA68}" type="datetime'''''''''5''''''''''''8''''''''''''2'''''''">
              <a:rPr lang="en-GB" altLang="en-US" sz="1200" smtClean="0">
                <a:solidFill>
                  <a:srgbClr val="000000"/>
                </a:solidFill>
              </a:rPr>
              <a:pPr marL="0" lvl="0" indent="0"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582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25" name="Text Placeholder 2">
            <a:extLst>
              <a:ext uri="{FF2B5EF4-FFF2-40B4-BE49-F238E27FC236}">
                <a16:creationId xmlns:a16="http://schemas.microsoft.com/office/drawing/2014/main" id="{5131F46D-F5B6-4D48-9BC8-CDB981C6BF97}"/>
              </a:ext>
            </a:extLst>
          </p:cNvPr>
          <p:cNvSpPr>
            <a:spLocks noGrp="1"/>
          </p:cNvSpPr>
          <p:nvPr>
            <p:custDataLst>
              <p:tags r:id="rId138"/>
            </p:custDataLst>
          </p:nvPr>
        </p:nvSpPr>
        <p:spPr bwMode="gray">
          <a:xfrm>
            <a:off x="10301288" y="3394075"/>
            <a:ext cx="27781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58BF1063-26FF-4CBB-A927-AC97EEE73756}" type="datetime'''''''''''''5''''''''''''6''''''''8'''''''''''''''">
              <a:rPr lang="en-GB" altLang="en-US" sz="1200" smtClean="0">
                <a:solidFill>
                  <a:srgbClr val="000000"/>
                </a:solidFill>
              </a:rPr>
              <a:pPr marL="0" lvl="0" indent="0"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568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15" name="Text Placeholder 2">
            <a:extLst>
              <a:ext uri="{FF2B5EF4-FFF2-40B4-BE49-F238E27FC236}">
                <a16:creationId xmlns:a16="http://schemas.microsoft.com/office/drawing/2014/main" id="{CD9FB400-9B72-4450-905F-B5255F9B90E6}"/>
              </a:ext>
            </a:extLst>
          </p:cNvPr>
          <p:cNvSpPr>
            <a:spLocks noGrp="1"/>
          </p:cNvSpPr>
          <p:nvPr>
            <p:custDataLst>
              <p:tags r:id="rId139"/>
            </p:custDataLst>
          </p:nvPr>
        </p:nvSpPr>
        <p:spPr bwMode="gray">
          <a:xfrm>
            <a:off x="10948988" y="3306763"/>
            <a:ext cx="27781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931D4486-222E-449F-8769-C87C1A01645A}" type="datetime'''''''''''6''5''''''''''''''''4'''''''">
              <a:rPr lang="en-GB" altLang="en-US" sz="1200" smtClean="0">
                <a:solidFill>
                  <a:srgbClr val="000000"/>
                </a:solidFill>
              </a:rPr>
              <a:pPr marL="0" lvl="0" indent="0"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654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1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40"/>
            </p:custDataLst>
          </p:nvPr>
        </p:nvSpPr>
        <p:spPr bwMode="auto">
          <a:xfrm>
            <a:off x="9263063" y="3070225"/>
            <a:ext cx="373063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EB6DC1B-1F12-4F1C-AD6E-B58BBCC391E9}" type="datetime'''+5''''''''''''''''''''%'''''''''''''''''''''''''''''''''''''">
              <a:rPr lang="en-GB" altLang="en-US" sz="1200" smtClean="0">
                <a:solidFill>
                  <a:srgbClr val="4472C4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5%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55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41"/>
            </p:custDataLst>
          </p:nvPr>
        </p:nvSpPr>
        <p:spPr bwMode="auto">
          <a:xfrm>
            <a:off x="9950450" y="3086100"/>
            <a:ext cx="330200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EA4035C-3BE4-431C-A05E-71F6944BDE00}" type="datetime'''''''''''''-2''''%'''''''''''''''''''''''''''''''''''''">
              <a:rPr lang="en-GB" altLang="en-US" sz="1200" smtClean="0">
                <a:solidFill>
                  <a:srgbClr val="FF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%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1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42"/>
            </p:custDataLst>
          </p:nvPr>
        </p:nvSpPr>
        <p:spPr bwMode="auto">
          <a:xfrm>
            <a:off x="10540999" y="2995613"/>
            <a:ext cx="484188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23885E1-EFEE-44B3-A341-6480CA97E85D}" type="datetime'''''+''1''''''''''5''''''''''''''''''''''%'''''''''''''">
              <a:rPr lang="en-GB" altLang="en-US" sz="1200" smtClean="0">
                <a:solidFill>
                  <a:srgbClr val="4472C4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5%</a:t>
            </a:fld>
            <a:endParaRPr lang="en-GB" sz="1200" dirty="0">
              <a:solidFill>
                <a:srgbClr val="4472C4"/>
              </a:solidFill>
              <a:sym typeface="+mn-lt"/>
            </a:endParaRPr>
          </a:p>
        </p:txBody>
      </p:sp>
      <p:graphicFrame>
        <p:nvGraphicFramePr>
          <p:cNvPr id="520" name="Chart 519">
            <a:extLst>
              <a:ext uri="{FF2B5EF4-FFF2-40B4-BE49-F238E27FC236}">
                <a16:creationId xmlns:a16="http://schemas.microsoft.com/office/drawing/2014/main" id="{16A7320C-05DB-91D7-2E3D-07EB7D96C05A}"/>
              </a:ext>
            </a:extLst>
          </p:cNvPr>
          <p:cNvGraphicFramePr/>
          <p:nvPr>
            <p:custDataLst>
              <p:tags r:id="rId143"/>
            </p:custDataLst>
            <p:extLst>
              <p:ext uri="{D42A27DB-BD31-4B8C-83A1-F6EECF244321}">
                <p14:modId xmlns:p14="http://schemas.microsoft.com/office/powerpoint/2010/main" val="3943110418"/>
              </p:ext>
            </p:extLst>
          </p:nvPr>
        </p:nvGraphicFramePr>
        <p:xfrm>
          <a:off x="6657975" y="5280025"/>
          <a:ext cx="3051175" cy="97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3"/>
          </a:graphicData>
        </a:graphic>
      </p:graphicFrame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C1189123-AF6C-44CE-87B6-CA60E6846785}"/>
              </a:ext>
            </a:extLst>
          </p:cNvPr>
          <p:cNvCxnSpPr/>
          <p:nvPr>
            <p:custDataLst>
              <p:tags r:id="rId144"/>
            </p:custDataLst>
          </p:nvPr>
        </p:nvCxnSpPr>
        <p:spPr bwMode="gray">
          <a:xfrm flipV="1">
            <a:off x="7100888" y="5105400"/>
            <a:ext cx="0" cy="24447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1A1DA2AB-39EB-4959-89FC-16BEA9C68A5E}"/>
              </a:ext>
            </a:extLst>
          </p:cNvPr>
          <p:cNvCxnSpPr/>
          <p:nvPr>
            <p:custDataLst>
              <p:tags r:id="rId145"/>
            </p:custDataLst>
          </p:nvPr>
        </p:nvCxnSpPr>
        <p:spPr bwMode="gray">
          <a:xfrm>
            <a:off x="7100888" y="5105400"/>
            <a:ext cx="146050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A223515E-5F51-4CE3-9E4F-47B2971D6F45}"/>
              </a:ext>
            </a:extLst>
          </p:cNvPr>
          <p:cNvCxnSpPr/>
          <p:nvPr>
            <p:custDataLst>
              <p:tags r:id="rId146"/>
            </p:custDataLst>
          </p:nvPr>
        </p:nvCxnSpPr>
        <p:spPr bwMode="gray">
          <a:xfrm>
            <a:off x="7785100" y="5105400"/>
            <a:ext cx="0" cy="15557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7" name="Straight Connector 516">
            <a:extLst>
              <a:ext uri="{FF2B5EF4-FFF2-40B4-BE49-F238E27FC236}">
                <a16:creationId xmlns:a16="http://schemas.microsoft.com/office/drawing/2014/main" id="{B4628A38-6671-4D67-4146-51E2CCFF87A6}"/>
              </a:ext>
            </a:extLst>
          </p:cNvPr>
          <p:cNvCxnSpPr/>
          <p:nvPr>
            <p:custDataLst>
              <p:tags r:id="rId147"/>
            </p:custDataLst>
          </p:nvPr>
        </p:nvCxnSpPr>
        <p:spPr bwMode="gray">
          <a:xfrm>
            <a:off x="7639050" y="5105400"/>
            <a:ext cx="146050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3144EAC5-C0FF-4AAC-A0EC-E5ED4E3A55DA}"/>
              </a:ext>
            </a:extLst>
          </p:cNvPr>
          <p:cNvCxnSpPr/>
          <p:nvPr>
            <p:custDataLst>
              <p:tags r:id="rId148"/>
            </p:custDataLst>
          </p:nvPr>
        </p:nvCxnSpPr>
        <p:spPr bwMode="gray">
          <a:xfrm flipV="1">
            <a:off x="8505825" y="4889500"/>
            <a:ext cx="0" cy="15557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641BAFC1-1BE4-437F-B895-549C5CF53F60}"/>
              </a:ext>
            </a:extLst>
          </p:cNvPr>
          <p:cNvCxnSpPr/>
          <p:nvPr>
            <p:custDataLst>
              <p:tags r:id="rId149"/>
            </p:custDataLst>
          </p:nvPr>
        </p:nvCxnSpPr>
        <p:spPr bwMode="gray">
          <a:xfrm flipH="1">
            <a:off x="8380413" y="4889500"/>
            <a:ext cx="125413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EA0D588B-EF4D-424B-8EA3-1D2066173394}"/>
              </a:ext>
            </a:extLst>
          </p:cNvPr>
          <p:cNvCxnSpPr/>
          <p:nvPr>
            <p:custDataLst>
              <p:tags r:id="rId150"/>
            </p:custDataLst>
          </p:nvPr>
        </p:nvCxnSpPr>
        <p:spPr bwMode="gray">
          <a:xfrm flipH="1">
            <a:off x="7861300" y="4889500"/>
            <a:ext cx="127000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B3D77F48-63C2-49F9-9C6A-F7AE5582135B}"/>
              </a:ext>
            </a:extLst>
          </p:cNvPr>
          <p:cNvCxnSpPr/>
          <p:nvPr>
            <p:custDataLst>
              <p:tags r:id="rId151"/>
            </p:custDataLst>
          </p:nvPr>
        </p:nvCxnSpPr>
        <p:spPr bwMode="gray">
          <a:xfrm>
            <a:off x="7861300" y="4889500"/>
            <a:ext cx="0" cy="37147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BC7DF4DF-A1FB-4524-801A-03D0A3D73983}"/>
              </a:ext>
            </a:extLst>
          </p:cNvPr>
          <p:cNvCxnSpPr>
            <a:cxnSpLocks/>
          </p:cNvCxnSpPr>
          <p:nvPr>
            <p:custDataLst>
              <p:tags r:id="rId152"/>
            </p:custDataLst>
          </p:nvPr>
        </p:nvCxnSpPr>
        <p:spPr bwMode="gray">
          <a:xfrm flipV="1">
            <a:off x="8582025" y="4889500"/>
            <a:ext cx="0" cy="155575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triangl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258EA74D-794B-44C3-9161-97A9D0EB006C}"/>
              </a:ext>
            </a:extLst>
          </p:cNvPr>
          <p:cNvCxnSpPr/>
          <p:nvPr>
            <p:custDataLst>
              <p:tags r:id="rId153"/>
            </p:custDataLst>
          </p:nvPr>
        </p:nvCxnSpPr>
        <p:spPr bwMode="gray">
          <a:xfrm>
            <a:off x="8582026" y="4889500"/>
            <a:ext cx="14287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98339B2D-05C0-4150-8F82-39FFD108805C}"/>
              </a:ext>
            </a:extLst>
          </p:cNvPr>
          <p:cNvCxnSpPr/>
          <p:nvPr>
            <p:custDataLst>
              <p:tags r:id="rId154"/>
            </p:custDataLst>
          </p:nvPr>
        </p:nvCxnSpPr>
        <p:spPr bwMode="gray">
          <a:xfrm>
            <a:off x="9121776" y="4889500"/>
            <a:ext cx="144463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FC7F86D4-E1DB-4910-84B2-02206CD144FC}"/>
              </a:ext>
            </a:extLst>
          </p:cNvPr>
          <p:cNvCxnSpPr/>
          <p:nvPr>
            <p:custDataLst>
              <p:tags r:id="rId155"/>
            </p:custDataLst>
          </p:nvPr>
        </p:nvCxnSpPr>
        <p:spPr bwMode="gray">
          <a:xfrm>
            <a:off x="9266238" y="4889500"/>
            <a:ext cx="0" cy="33655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0" name="Text Placeholder 2">
            <a:extLst>
              <a:ext uri="{FF2B5EF4-FFF2-40B4-BE49-F238E27FC236}">
                <a16:creationId xmlns:a16="http://schemas.microsoft.com/office/drawing/2014/main" id="{AA2C58D5-D774-4AF3-9B3B-9CFA0040CB28}"/>
              </a:ext>
            </a:extLst>
          </p:cNvPr>
          <p:cNvSpPr>
            <a:spLocks noGrp="1"/>
          </p:cNvSpPr>
          <p:nvPr>
            <p:custDataLst>
              <p:tags r:id="rId156"/>
            </p:custDataLst>
          </p:nvPr>
        </p:nvSpPr>
        <p:spPr bwMode="gray">
          <a:xfrm>
            <a:off x="7000875" y="5589588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55E1B4D-4F10-4509-AA27-778805DB4EE7}" type="datetime'''''''''2''''''''9''''''''''''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29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541" name="Text Placeholder 3">
            <a:extLst>
              <a:ext uri="{FF2B5EF4-FFF2-40B4-BE49-F238E27FC236}">
                <a16:creationId xmlns:a16="http://schemas.microsoft.com/office/drawing/2014/main" id="{FF8E9FED-B8DD-4016-AAD7-794BDB23391C}"/>
              </a:ext>
            </a:extLst>
          </p:cNvPr>
          <p:cNvSpPr>
            <a:spLocks noGrp="1"/>
          </p:cNvSpPr>
          <p:nvPr>
            <p:custDataLst>
              <p:tags r:id="rId157"/>
            </p:custDataLst>
          </p:nvPr>
        </p:nvSpPr>
        <p:spPr bwMode="auto">
          <a:xfrm>
            <a:off x="6837363" y="6219825"/>
            <a:ext cx="5286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B72FE7E2-B1E7-4330-8260-AF971E5C6D19}" type="datetime'Q''''''''''''''''''''''2 ''FY''''''''2''3'''''''''''''''''">
              <a:rPr lang="en-US" altLang="en-US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Q2 FY23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38" name="Text Placeholder 2">
            <a:extLst>
              <a:ext uri="{FF2B5EF4-FFF2-40B4-BE49-F238E27FC236}">
                <a16:creationId xmlns:a16="http://schemas.microsoft.com/office/drawing/2014/main" id="{163637B1-5D08-45D9-9A15-96F95C142CBD}"/>
              </a:ext>
            </a:extLst>
          </p:cNvPr>
          <p:cNvSpPr>
            <a:spLocks noGrp="1"/>
          </p:cNvSpPr>
          <p:nvPr>
            <p:custDataLst>
              <p:tags r:id="rId158"/>
            </p:custDataLst>
          </p:nvPr>
        </p:nvSpPr>
        <p:spPr bwMode="gray">
          <a:xfrm>
            <a:off x="7723188" y="5500688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31FE212-1B4B-48A9-9816-04E8ADC55B8B}" type="datetime'''''''''''''''''''''''''''''''''''''6''''6''''''''''''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66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336" name="Text Placeholder 3">
            <a:extLst>
              <a:ext uri="{FF2B5EF4-FFF2-40B4-BE49-F238E27FC236}">
                <a16:creationId xmlns:a16="http://schemas.microsoft.com/office/drawing/2014/main" id="{8AD2023E-8085-4AA7-8CB5-08E4905C353A}"/>
              </a:ext>
            </a:extLst>
          </p:cNvPr>
          <p:cNvSpPr>
            <a:spLocks noGrp="1"/>
          </p:cNvSpPr>
          <p:nvPr>
            <p:custDataLst>
              <p:tags r:id="rId159"/>
            </p:custDataLst>
          </p:nvPr>
        </p:nvSpPr>
        <p:spPr bwMode="auto">
          <a:xfrm>
            <a:off x="7559675" y="6219825"/>
            <a:ext cx="5286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7A596AF8-408C-4941-82C5-C6959E2E0466}" type="datetime'Q3'''' ''''''''F''''Y''''''''''''''''''2''''''''''3'''''''">
              <a:rPr lang="en-US" altLang="en-US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Q3 FY23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42" name="Text Placeholder 2">
            <a:extLst>
              <a:ext uri="{FF2B5EF4-FFF2-40B4-BE49-F238E27FC236}">
                <a16:creationId xmlns:a16="http://schemas.microsoft.com/office/drawing/2014/main" id="{1E7CBBC9-0F24-40A1-A53E-8DE487E614A2}"/>
              </a:ext>
            </a:extLst>
          </p:cNvPr>
          <p:cNvSpPr>
            <a:spLocks noGrp="1"/>
          </p:cNvSpPr>
          <p:nvPr>
            <p:custDataLst>
              <p:tags r:id="rId160"/>
            </p:custDataLst>
          </p:nvPr>
        </p:nvSpPr>
        <p:spPr bwMode="gray">
          <a:xfrm>
            <a:off x="8443913" y="5284788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28B339D-BF7B-4CD9-B514-CAE7DDDBD233}" type="datetime'4''''''''''''''''''''''''''5''''''''''''''''''''''''''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45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231" name="Text Placeholder 3">
            <a:extLst>
              <a:ext uri="{FF2B5EF4-FFF2-40B4-BE49-F238E27FC236}">
                <a16:creationId xmlns:a16="http://schemas.microsoft.com/office/drawing/2014/main" id="{595E1DF3-7DB7-4ABE-AAEF-2761D5A57327}"/>
              </a:ext>
            </a:extLst>
          </p:cNvPr>
          <p:cNvSpPr>
            <a:spLocks noGrp="1"/>
          </p:cNvSpPr>
          <p:nvPr>
            <p:custDataLst>
              <p:tags r:id="rId161"/>
            </p:custDataLst>
          </p:nvPr>
        </p:nvSpPr>
        <p:spPr bwMode="auto">
          <a:xfrm>
            <a:off x="8280400" y="6219825"/>
            <a:ext cx="5286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05D23591-A89C-402B-B3C7-7F7777EF7E7A}" type="datetime'''''''Q''''''''''4'''''' ''''''''''''''F''''Y''''''2''3'''''''">
              <a:rPr lang="en-US" altLang="en-US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Q4 FY23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24" name="Text Placeholder 2">
            <a:extLst>
              <a:ext uri="{FF2B5EF4-FFF2-40B4-BE49-F238E27FC236}">
                <a16:creationId xmlns:a16="http://schemas.microsoft.com/office/drawing/2014/main" id="{35E66513-9FB6-4F86-95CE-0175027D0699}"/>
              </a:ext>
            </a:extLst>
          </p:cNvPr>
          <p:cNvSpPr>
            <a:spLocks noGrp="1"/>
          </p:cNvSpPr>
          <p:nvPr>
            <p:custDataLst>
              <p:tags r:id="rId162"/>
            </p:custDataLst>
          </p:nvPr>
        </p:nvSpPr>
        <p:spPr bwMode="gray">
          <a:xfrm>
            <a:off x="9166225" y="5465763"/>
            <a:ext cx="200025" cy="165100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D0DD69C-65E0-47F5-9783-13C308949260}" type="datetime'''''''''''''''''''''5''''9'">
              <a:rPr lang="en-GB" altLang="en-US" sz="1200" smtClean="0">
                <a:solidFill>
                  <a:srgbClr val="FFFFFF"/>
                </a:solidFill>
                <a:effectLst/>
              </a:rPr>
              <a:pPr/>
              <a:t>59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  <a:sym typeface="+mn-lt"/>
            </a:endParaRPr>
          </a:p>
        </p:txBody>
      </p:sp>
      <p:sp>
        <p:nvSpPr>
          <p:cNvPr id="322" name="Text Placeholder 3">
            <a:extLst>
              <a:ext uri="{FF2B5EF4-FFF2-40B4-BE49-F238E27FC236}">
                <a16:creationId xmlns:a16="http://schemas.microsoft.com/office/drawing/2014/main" id="{4BA8D388-EC40-462C-98E1-9EE771AFF15E}"/>
              </a:ext>
            </a:extLst>
          </p:cNvPr>
          <p:cNvSpPr>
            <a:spLocks noGrp="1"/>
          </p:cNvSpPr>
          <p:nvPr>
            <p:custDataLst>
              <p:tags r:id="rId163"/>
            </p:custDataLst>
          </p:nvPr>
        </p:nvSpPr>
        <p:spPr bwMode="auto">
          <a:xfrm>
            <a:off x="9002713" y="6219825"/>
            <a:ext cx="5286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F522DBDB-4F9F-4CF8-9778-645B7188E5E3}" type="datetime'''''''''Q''''''''''''''1'''''' ''''''''''''''''''FY24'''''''''">
              <a:rPr lang="en-US" altLang="en-US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Q1 FY24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543" name="Text Placeholder 2">
            <a:extLst>
              <a:ext uri="{FF2B5EF4-FFF2-40B4-BE49-F238E27FC236}">
                <a16:creationId xmlns:a16="http://schemas.microsoft.com/office/drawing/2014/main" id="{014D6382-0C50-40DE-AF86-145C4D978C42}"/>
              </a:ext>
            </a:extLst>
          </p:cNvPr>
          <p:cNvSpPr>
            <a:spLocks noGrp="1"/>
          </p:cNvSpPr>
          <p:nvPr>
            <p:custDataLst>
              <p:tags r:id="rId164"/>
            </p:custDataLst>
          </p:nvPr>
        </p:nvSpPr>
        <p:spPr bwMode="gray">
          <a:xfrm>
            <a:off x="6904038" y="5387975"/>
            <a:ext cx="3937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fld id="{4466CCEC-88A9-414D-B80A-F8DD71DEBDDE}" type="datetime'''''''2'''',''''26''4'''''''''''''''''''''">
              <a:rPr lang="en-GB" altLang="en-US" sz="1200" smtClean="0">
                <a:solidFill>
                  <a:srgbClr val="000000"/>
                </a:solidFill>
              </a:rPr>
              <a:pPr marL="0" lvl="0" indent="0"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2,264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37" name="Text Placeholder 2">
            <a:extLst>
              <a:ext uri="{FF2B5EF4-FFF2-40B4-BE49-F238E27FC236}">
                <a16:creationId xmlns:a16="http://schemas.microsoft.com/office/drawing/2014/main" id="{87DD24A8-EB4D-4AB7-9084-66118F700CBA}"/>
              </a:ext>
            </a:extLst>
          </p:cNvPr>
          <p:cNvSpPr>
            <a:spLocks noGrp="1"/>
          </p:cNvSpPr>
          <p:nvPr>
            <p:custDataLst>
              <p:tags r:id="rId165"/>
            </p:custDataLst>
          </p:nvPr>
        </p:nvSpPr>
        <p:spPr bwMode="gray">
          <a:xfrm>
            <a:off x="7626350" y="5299075"/>
            <a:ext cx="3937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CA1841-654C-4CEC-815C-C50FCEC5460E}" type="datetime'''''2'''''''''''',6''''7''''''''''''''''''''''9'''''''''''">
              <a:rPr lang="en-GB" altLang="en-US" sz="1200" smtClean="0">
                <a:solidFill>
                  <a:srgbClr val="000000"/>
                </a:solidFill>
              </a:rPr>
              <a:pPr marL="0" lvl="0" indent="0"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,679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32" name="Text Placeholder 2">
            <a:extLst>
              <a:ext uri="{FF2B5EF4-FFF2-40B4-BE49-F238E27FC236}">
                <a16:creationId xmlns:a16="http://schemas.microsoft.com/office/drawing/2014/main" id="{1C1388AF-4B19-45F0-9F91-2E6507288C72}"/>
              </a:ext>
            </a:extLst>
          </p:cNvPr>
          <p:cNvSpPr>
            <a:spLocks noGrp="1"/>
          </p:cNvSpPr>
          <p:nvPr>
            <p:custDataLst>
              <p:tags r:id="rId166"/>
            </p:custDataLst>
          </p:nvPr>
        </p:nvSpPr>
        <p:spPr bwMode="gray">
          <a:xfrm>
            <a:off x="8347075" y="5083175"/>
            <a:ext cx="3937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EBFDA832-52F7-4B0D-BCDB-B1969CC2D77D}" type="datetime'''''''''3'''''',''''''6''''4''''''''9'''''''''''''''''">
              <a:rPr lang="en-GB" altLang="en-US" sz="1200" smtClean="0">
                <a:solidFill>
                  <a:srgbClr val="000000"/>
                </a:solidFill>
              </a:rPr>
              <a:pPr marL="0" lvl="0" indent="0"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,649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23" name="Text Placeholder 2">
            <a:extLst>
              <a:ext uri="{FF2B5EF4-FFF2-40B4-BE49-F238E27FC236}">
                <a16:creationId xmlns:a16="http://schemas.microsoft.com/office/drawing/2014/main" id="{1DDFD270-3EB4-4CFE-8F62-4BC05F285421}"/>
              </a:ext>
            </a:extLst>
          </p:cNvPr>
          <p:cNvSpPr>
            <a:spLocks noGrp="1"/>
          </p:cNvSpPr>
          <p:nvPr>
            <p:custDataLst>
              <p:tags r:id="rId167"/>
            </p:custDataLst>
          </p:nvPr>
        </p:nvSpPr>
        <p:spPr bwMode="gray">
          <a:xfrm>
            <a:off x="9069388" y="5264150"/>
            <a:ext cx="3937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6D57BEBC-7F83-4B8F-9838-56C417EA0E62}" type="datetime'2'''''''',''''''83''''''''''''''''''''''''''''''7'''''''''''">
              <a:rPr lang="en-GB" altLang="en-US" sz="1200" smtClean="0">
                <a:solidFill>
                  <a:srgbClr val="000000"/>
                </a:solidFill>
              </a:rPr>
              <a:pPr marL="0" lvl="0" indent="0"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,837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99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68"/>
            </p:custDataLst>
          </p:nvPr>
        </p:nvSpPr>
        <p:spPr bwMode="auto">
          <a:xfrm>
            <a:off x="7200899" y="4987925"/>
            <a:ext cx="484188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kumimoji="0" lang="en-GB" sz="1200" b="0" i="0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sym typeface="+mn-lt"/>
              </a:rPr>
              <a:t>+18%</a:t>
            </a:r>
          </a:p>
        </p:txBody>
      </p:sp>
      <p:sp>
        <p:nvSpPr>
          <p:cNvPr id="27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69"/>
            </p:custDataLst>
          </p:nvPr>
        </p:nvSpPr>
        <p:spPr bwMode="auto">
          <a:xfrm>
            <a:off x="7942262" y="4772025"/>
            <a:ext cx="484188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200" dirty="0">
                <a:solidFill>
                  <a:srgbClr val="4472C4"/>
                </a:solidFill>
              </a:rPr>
              <a:t>+36%</a:t>
            </a:r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2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70"/>
            </p:custDataLst>
          </p:nvPr>
        </p:nvSpPr>
        <p:spPr bwMode="auto">
          <a:xfrm>
            <a:off x="8678863" y="4772025"/>
            <a:ext cx="490538" cy="2349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kumimoji="0" lang="en-GB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E71C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</a:t>
            </a:r>
            <a:fld id="{863EC433-5869-4DA4-942F-D762294AFE30}" type="datetime'''''''''''''''''''''''''''''''''''''''2''''2'''' %'''''''''">
              <a:rPr lang="en-GB" altLang="en-US" sz="1200" smtClean="0">
                <a:solidFill>
                  <a:srgbClr val="E71C57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 %</a:t>
            </a:fld>
            <a:endParaRPr kumimoji="0" lang="en-GB" sz="1200" b="0" i="0" strike="noStrike" kern="1200" cap="none" spc="0" normalizeH="0" baseline="0" noProof="0" dirty="0">
              <a:ln>
                <a:noFill/>
              </a:ln>
              <a:solidFill>
                <a:srgbClr val="E71C57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DFBAF904-73AA-4D04-8725-69594F8442CF}"/>
              </a:ext>
            </a:extLst>
          </p:cNvPr>
          <p:cNvSpPr txBox="1"/>
          <p:nvPr/>
        </p:nvSpPr>
        <p:spPr>
          <a:xfrm>
            <a:off x="456314" y="2035969"/>
            <a:ext cx="904968" cy="1682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Units sold</a:t>
            </a:r>
          </a:p>
        </p:txBody>
      </p:sp>
      <p:sp>
        <p:nvSpPr>
          <p:cNvPr id="192" name="ee4pFootnotes">
            <a:extLst>
              <a:ext uri="{FF2B5EF4-FFF2-40B4-BE49-F238E27FC236}">
                <a16:creationId xmlns:a16="http://schemas.microsoft.com/office/drawing/2014/main" id="{D96FBBEB-0B2E-4792-AA4F-30DA4E8453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747" y="6350305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Source: ICEMA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3928D7D-477D-4985-B6C4-77493E41A44C}"/>
              </a:ext>
            </a:extLst>
          </p:cNvPr>
          <p:cNvSpPr/>
          <p:nvPr>
            <p:custDataLst>
              <p:tags r:id="rId171"/>
            </p:custDataLst>
          </p:nvPr>
        </p:nvSpPr>
        <p:spPr bwMode="gray">
          <a:xfrm>
            <a:off x="1087438" y="6030912"/>
            <a:ext cx="214313" cy="160338"/>
          </a:xfrm>
          <a:prstGeom prst="rect">
            <a:avLst/>
          </a:prstGeom>
          <a:solidFill>
            <a:srgbClr val="0080F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B45FD93-14B5-4C4E-8260-3B9035BE7427}"/>
              </a:ext>
            </a:extLst>
          </p:cNvPr>
          <p:cNvSpPr/>
          <p:nvPr>
            <p:custDataLst>
              <p:tags r:id="rId172"/>
            </p:custDataLst>
          </p:nvPr>
        </p:nvSpPr>
        <p:spPr bwMode="gray">
          <a:xfrm>
            <a:off x="1919288" y="6030913"/>
            <a:ext cx="214313" cy="160338"/>
          </a:xfrm>
          <a:prstGeom prst="rect">
            <a:avLst/>
          </a:prstGeom>
          <a:solidFill>
            <a:srgbClr val="1E50A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73"/>
            </p:custDataLst>
          </p:nvPr>
        </p:nvSpPr>
        <p:spPr bwMode="auto">
          <a:xfrm>
            <a:off x="1352550" y="6038850"/>
            <a:ext cx="4651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BD81F62-D68E-473C-BC00-A0FFB1CA7B4F}" type="datetime'''''''E''x''''''''por''''''t''s''''''''''''''''''''''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Exports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206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174"/>
            </p:custDataLst>
          </p:nvPr>
        </p:nvSpPr>
        <p:spPr bwMode="auto">
          <a:xfrm>
            <a:off x="2184400" y="6038850"/>
            <a:ext cx="9667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F9AB86F-61AD-479C-85F2-22D1BD9584CE}" type="datetime'D''o''''me''s''t''''i''''c'''''''' ''S''''ales '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omestic Sales 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839304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CF34D5C-0831-4AE8-9281-0D9266FAE2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3862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2" imgW="395" imgH="396" progId="TCLayout.ActiveDocument.1">
                  <p:embed/>
                </p:oleObj>
              </mc:Choice>
              <mc:Fallback>
                <p:oleObj name="think-cell Slide" r:id="rId62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CF34D5C-0831-4AE8-9281-0D9266FAE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7707E7F-C739-4879-92BE-B9719315EB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325" y="241800"/>
            <a:ext cx="10933350" cy="332399"/>
          </a:xfrm>
        </p:spPr>
        <p:txBody>
          <a:bodyPr vert="horz"/>
          <a:lstStyle/>
          <a:p>
            <a:r>
              <a:rPr lang="en-US" b="1" dirty="0">
                <a:solidFill>
                  <a:schemeClr val="bg1"/>
                </a:solidFill>
              </a:rPr>
              <a:t>Performance across Major Equipment Categories in Q1 FY24</a:t>
            </a:r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F9C11DB5-FFBE-45CF-A233-69F8EDAEEE08}"/>
              </a:ext>
            </a:extLst>
          </p:cNvPr>
          <p:cNvSpPr>
            <a:spLocks/>
          </p:cNvSpPr>
          <p:nvPr/>
        </p:nvSpPr>
        <p:spPr>
          <a:xfrm>
            <a:off x="658813" y="3114675"/>
            <a:ext cx="1068388" cy="346075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7 %</a:t>
            </a:r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11E0CFE3-CEFD-0572-674B-A26FFC1A107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046934"/>
              </p:ext>
            </p:extLst>
          </p:nvPr>
        </p:nvGraphicFramePr>
        <p:xfrm>
          <a:off x="274638" y="1420813"/>
          <a:ext cx="10431462" cy="1274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4"/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8278F75-5808-46AD-9734-EBDF9DA70BCC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030288" y="1746250"/>
            <a:ext cx="366713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E34E592-DC6A-4344-B54F-4047D4A08309}" type="datetime'''''''5''''''''10''''''''''''''''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510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0F728D0-FFDC-4568-BBB5-62B271FF391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22275" y="2759075"/>
            <a:ext cx="15827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B9AF94F-B303-462F-982C-B6A866BD01B0}" type="datetime'E''arth M''''o''ving ''''''Eq''u''i''''''''''''''p''m''''ent 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Earth Moving Equipment 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7C14911-CB9D-45D4-B05D-B43ECA118B5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060700" y="2387600"/>
            <a:ext cx="263525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1B3071E-DF98-4AE4-9DAF-233FE6C3CCC9}" type="datetime'''''''1''9''''''''''''''''''''''''''''''''''''''''''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19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397125" y="2446338"/>
            <a:ext cx="520700" cy="219075"/>
          </a:xfrm>
          <a:prstGeom prst="rect">
            <a:avLst/>
          </a:prstGeom>
          <a:solidFill>
            <a:srgbClr val="1E50A0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89F764-24C7-4642-8E07-4DCD6247DCA0}" type="datetime'''''''''''''''''''''''''''''''2'''',''8''''18'''''">
              <a:rPr lang="en-US" altLang="en-US" sz="1600" smtClean="0">
                <a:solidFill>
                  <a:schemeClr val="bg1"/>
                </a:solidFill>
                <a:effectLst/>
              </a:rPr>
              <a:pPr/>
              <a:t>2,818</a:t>
            </a:fld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0ACE092-8131-4632-9C5C-9C224FAFD78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286000" y="2759075"/>
            <a:ext cx="12779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76D59CD-E273-49A3-A4D3-0F4882CD932E}" type="datetime'''''''C''''''''oncr''''''''''''e''''''te'''''' Equipm''ent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oncrete Equipment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FA90497-A950-48DE-A51F-6B477464C2C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721225" y="2359025"/>
            <a:ext cx="366713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858A3F4-5389-4E07-85CF-3E4E60D6AC8B}" type="datetime'''''''''''''1''''''''''''''''''02''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102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D859B469-275B-486C-9C7F-6977E7B81FA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108450" y="2432050"/>
            <a:ext cx="520700" cy="219075"/>
          </a:xfrm>
          <a:prstGeom prst="rect">
            <a:avLst/>
          </a:prstGeom>
          <a:solidFill>
            <a:srgbClr val="1E50A0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8A17749-2549-438E-A43C-223024D3AC96}" type="datetime'''''3'',''''49''''''''''''''''4''''''''''''''''''''''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3,494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6F28074-BC62-48A2-8C23-C66760A9D6B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076700" y="2759075"/>
            <a:ext cx="11176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698CBEF-6819-4638-92B0-A340A8CE7777}" type="datetime'M''at''er''i''''al'' ''''''''Handling'' Equ''i''''''pm''''ent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terial Handling Equipment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CF3DC16-2929-4542-84CF-161664B285A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481763" y="2449513"/>
            <a:ext cx="263525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94501B0-F82D-4130-8ABA-C5AD5CCA85A2}" type="datetime'''''''''''4''''''''2''''''''''''''''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42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D664218-156E-4904-95DC-35ACE4D221D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818187" y="2476500"/>
            <a:ext cx="520700" cy="219075"/>
          </a:xfrm>
          <a:prstGeom prst="rect">
            <a:avLst/>
          </a:prstGeom>
          <a:solidFill>
            <a:srgbClr val="1E50A0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BBDB1FF-BA6A-4886-BDD9-328DCA7E5D00}" type="datetime'''''1'''''''''''''''''',''''''''''''2''''84''''''''''''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1,284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7A6FD88-9C35-4681-A1EE-B3BB742A3AE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768975" y="2759075"/>
            <a:ext cx="115411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AB69F10-962F-4104-B892-A0EF5CF291BB}" type="datetime'''Ro''a''''d ''''C''ons''''truc''''''tio''n'' Eq''uipm''e''nt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Road Construction Equipment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02984E62-FA6A-4894-972D-6C538B626F2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8245475" y="2476500"/>
            <a:ext cx="160338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4FA7D39-68F5-4973-A039-13D483665BB2}" type="datetime'''''0'''''''''''''''''">
              <a:rPr kumimoji="0" lang="en-US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207E6A20-5250-4067-BB9F-50418EEECFC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7607300" y="2489200"/>
            <a:ext cx="366713" cy="219075"/>
          </a:xfrm>
          <a:prstGeom prst="rect">
            <a:avLst/>
          </a:prstGeom>
          <a:solidFill>
            <a:srgbClr val="1E50A0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75D9309-C692-478A-B423-0823CB5E4483}" type="datetime'''6''''''''''''''''''''''''5''''''''4''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654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7BA506BA-3F9C-452C-AD3F-305BDEC4056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443788" y="2759075"/>
            <a:ext cx="12271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B8D70DC-2196-4A61-8F09-C53F983CEC0F}" type="datetime'Mater''''''i''al Proces''s''''i''ng Eq''''ui''''''pme''n''''t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aterial Processing Equipment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34CB4390-DF7F-42FE-A5DD-D23FD37FB0E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9585325" y="1406525"/>
            <a:ext cx="366713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290FEB3-6EF3-4BDE-9EC1-701A2BD0B086}" type="datetime'''''''''6''''''''''''''''''''''''''7''''''''''3''''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673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624BF6B-D504-48AB-956A-6866F77467D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612313" y="2759075"/>
            <a:ext cx="3111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9703C4C-57C6-4A09-94A1-D8736E00AEFE}" type="datetime'''''''''''''''''''''''''T''o''''t''''''''''''a''''''l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Total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721EC0-DE9B-4310-82D7-5CDC887CF55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901700" y="1527175"/>
            <a:ext cx="6238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CCA369EC-B1ED-4721-B9AE-8CB303FFF6A8}" type="datetime'''''1''''''8'''''''''''''',''''8''''''''''''''''''3''''''1'">
              <a:rPr lang="en-US" altLang="en-US" sz="1600" smtClean="0">
                <a:solidFill>
                  <a:srgbClr val="000000"/>
                </a:solidFill>
              </a:rPr>
              <a:pPr/>
              <a:t>18,831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D344A06-FDBF-4412-A369-F3DE1076B40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663825" y="2168525"/>
            <a:ext cx="5207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14D84AD-AC44-4856-8ADE-28538AFEF04D}" type="datetime'''''''2'''''''',''''''''8''''''''3''7'''''">
              <a:rPr lang="en-US" altLang="en-US" sz="1600" smtClean="0">
                <a:solidFill>
                  <a:srgbClr val="000000"/>
                </a:solidFill>
              </a:rPr>
              <a:pPr/>
              <a:t>2,837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A6B8216-E299-4EAB-8B9F-589358A3792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375150" y="2139950"/>
            <a:ext cx="5207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06F37E9-B927-4EF1-8D68-EFF26199D69A}" type="datetime'3'''',''''''''''5''''''''''''''''''''''9''''''6'''''''''">
              <a:rPr lang="en-US" altLang="en-US" sz="1600" smtClean="0">
                <a:solidFill>
                  <a:srgbClr val="000000"/>
                </a:solidFill>
              </a:rPr>
              <a:pPr/>
              <a:t>3,596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6EE186F-BB5F-4EAF-A88A-AEB5A371BEC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084887" y="2230438"/>
            <a:ext cx="5207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980B4B69-E374-400F-9D2F-D5CC912153C2}" type="datetime'''''''''''''''''1'''''',''''''32''''''6'''''''">
              <a:rPr lang="en-US" altLang="en-US" sz="1600" smtClean="0">
                <a:solidFill>
                  <a:srgbClr val="000000"/>
                </a:solidFill>
              </a:rPr>
              <a:pPr/>
              <a:t>1,326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681E8D67-27B0-4E15-AF62-DEAEB7CB4190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874000" y="2257425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CADA38B-B964-4FDE-B1C3-8EDE362E31ED}" type="datetime'''''''''''''''''''65''4'''''''''''''''''''">
              <a:rPr lang="en-US" altLang="en-US" sz="1600" smtClean="0">
                <a:solidFill>
                  <a:srgbClr val="000000"/>
                </a:solidFill>
              </a:rPr>
              <a:pPr/>
              <a:t>654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C82792E6-FA12-4E1B-8EF6-874E4D078E3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9456738" y="1187450"/>
            <a:ext cx="6238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674D5D2-F2FE-4DBE-806A-EB8689F8D04F}" type="datetime'''''''''''2''''7'''''''''''''''''''''''''',''''''''2''4''''4'">
              <a:rPr lang="en-US" altLang="en-US" sz="1600" smtClean="0">
                <a:solidFill>
                  <a:srgbClr val="000000"/>
                </a:solidFill>
              </a:rPr>
              <a:pPr/>
              <a:t>27,244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5855103-CEC9-4934-B104-B5A4B15FB412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10837863" y="2155825"/>
            <a:ext cx="214313" cy="160338"/>
          </a:xfrm>
          <a:prstGeom prst="rect">
            <a:avLst/>
          </a:prstGeom>
          <a:solidFill>
            <a:srgbClr val="0080F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E9C13DC-DE9E-4632-8EDD-2F91129E396A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10837863" y="2379663"/>
            <a:ext cx="214313" cy="160338"/>
          </a:xfrm>
          <a:prstGeom prst="rect">
            <a:avLst/>
          </a:prstGeom>
          <a:solidFill>
            <a:srgbClr val="1E50A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BC961C43-C01C-42D2-B2E1-E4BB6B4CA50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1102975" y="2163763"/>
            <a:ext cx="4841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3610696-FE9A-4EA4-880C-EAB967A70CD4}" type="datetime'''I''''''''''''''''''''''m''''''p''or''''''t''''s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Imports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3EBF92AB-6E09-4029-856A-C9FB9352F7C5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1102976" y="2387600"/>
            <a:ext cx="5826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estic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FFC23322-76D5-471B-8F12-E6EC9915643B}"/>
              </a:ext>
            </a:extLst>
          </p:cNvPr>
          <p:cNvSpPr>
            <a:spLocks/>
          </p:cNvSpPr>
          <p:nvPr/>
        </p:nvSpPr>
        <p:spPr>
          <a:xfrm>
            <a:off x="2371725" y="3114675"/>
            <a:ext cx="1068388" cy="346075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9 %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FE5B3B03-84A8-4B4E-89C3-6BE77FEFCB93}"/>
              </a:ext>
            </a:extLst>
          </p:cNvPr>
          <p:cNvSpPr>
            <a:spLocks/>
          </p:cNvSpPr>
          <p:nvPr/>
        </p:nvSpPr>
        <p:spPr>
          <a:xfrm>
            <a:off x="4086225" y="3114675"/>
            <a:ext cx="1069975" cy="346075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7 %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B6E6890-22F0-45C4-B3DB-6FB29DCEE77C}"/>
              </a:ext>
            </a:extLst>
          </p:cNvPr>
          <p:cNvSpPr>
            <a:spLocks/>
          </p:cNvSpPr>
          <p:nvPr/>
        </p:nvSpPr>
        <p:spPr>
          <a:xfrm>
            <a:off x="5800725" y="3114675"/>
            <a:ext cx="1068388" cy="346075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7 %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A87E86E0-6ACF-4726-B769-D6B7EC4D8DEE}"/>
              </a:ext>
            </a:extLst>
          </p:cNvPr>
          <p:cNvSpPr>
            <a:spLocks/>
          </p:cNvSpPr>
          <p:nvPr/>
        </p:nvSpPr>
        <p:spPr>
          <a:xfrm>
            <a:off x="7500938" y="3114675"/>
            <a:ext cx="1068388" cy="346075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%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4CBF46B-5DF5-4886-8A28-7F0C227F771B}"/>
              </a:ext>
            </a:extLst>
          </p:cNvPr>
          <p:cNvSpPr/>
          <p:nvPr/>
        </p:nvSpPr>
        <p:spPr>
          <a:xfrm>
            <a:off x="9229724" y="3149372"/>
            <a:ext cx="230346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E5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% Share of Domestic Sourc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831E574-41BA-457A-A262-A0A76C827FD5}"/>
              </a:ext>
            </a:extLst>
          </p:cNvPr>
          <p:cNvSpPr/>
          <p:nvPr/>
        </p:nvSpPr>
        <p:spPr>
          <a:xfrm>
            <a:off x="450672" y="1082903"/>
            <a:ext cx="335632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E5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Source of Procurement: Domestic vs Imports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D860678-BEA3-4A07-8688-FD34D6C7465A}"/>
              </a:ext>
            </a:extLst>
          </p:cNvPr>
          <p:cNvCxnSpPr>
            <a:cxnSpLocks/>
          </p:cNvCxnSpPr>
          <p:nvPr/>
        </p:nvCxnSpPr>
        <p:spPr>
          <a:xfrm flipV="1">
            <a:off x="260473" y="3688809"/>
            <a:ext cx="11346914" cy="102701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F7E8282A-9EA8-497A-A612-AE23BB7E6EF5}"/>
              </a:ext>
            </a:extLst>
          </p:cNvPr>
          <p:cNvSpPr/>
          <p:nvPr/>
        </p:nvSpPr>
        <p:spPr>
          <a:xfrm>
            <a:off x="450672" y="4004784"/>
            <a:ext cx="3356329" cy="215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E5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Domestics Sales vs Exports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2C846C31-0D9D-1721-4B0C-1D8B535E1195}"/>
              </a:ext>
            </a:extLst>
          </p:cNvPr>
          <p:cNvSpPr>
            <a:spLocks/>
          </p:cNvSpPr>
          <p:nvPr/>
        </p:nvSpPr>
        <p:spPr>
          <a:xfrm>
            <a:off x="678656" y="6006899"/>
            <a:ext cx="1068388" cy="346075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9 %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962B3AAB-DF47-01B0-B645-B0E26AB454CE}"/>
              </a:ext>
            </a:extLst>
          </p:cNvPr>
          <p:cNvSpPr>
            <a:spLocks/>
          </p:cNvSpPr>
          <p:nvPr/>
        </p:nvSpPr>
        <p:spPr>
          <a:xfrm>
            <a:off x="2272334" y="6010275"/>
            <a:ext cx="1068388" cy="346075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white"/>
                </a:solidFill>
                <a:latin typeface="Calibri" panose="020F0502020204030204"/>
              </a:rPr>
              <a:t>1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%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DEE70453-3E3D-5249-433A-39F09D184BFD}"/>
              </a:ext>
            </a:extLst>
          </p:cNvPr>
          <p:cNvSpPr>
            <a:spLocks/>
          </p:cNvSpPr>
          <p:nvPr/>
        </p:nvSpPr>
        <p:spPr>
          <a:xfrm>
            <a:off x="3988042" y="6023594"/>
            <a:ext cx="1068388" cy="346075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white"/>
                </a:solidFill>
                <a:latin typeface="Calibri" panose="020F0502020204030204"/>
              </a:rPr>
              <a:t>13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</a:t>
            </a: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C4594F28-469D-6044-E7DB-9EE21EA311EA}"/>
              </a:ext>
            </a:extLst>
          </p:cNvPr>
          <p:cNvSpPr>
            <a:spLocks/>
          </p:cNvSpPr>
          <p:nvPr/>
        </p:nvSpPr>
        <p:spPr>
          <a:xfrm>
            <a:off x="5731153" y="6036779"/>
            <a:ext cx="1068388" cy="346075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 %</a:t>
            </a: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7F9A60DC-6971-A20E-8C65-14EED628D069}"/>
              </a:ext>
            </a:extLst>
          </p:cNvPr>
          <p:cNvSpPr>
            <a:spLocks/>
          </p:cNvSpPr>
          <p:nvPr/>
        </p:nvSpPr>
        <p:spPr>
          <a:xfrm>
            <a:off x="7602711" y="6006899"/>
            <a:ext cx="1068388" cy="346075"/>
          </a:xfrm>
          <a:prstGeom prst="ellipse">
            <a:avLst/>
          </a:prstGeom>
          <a:solidFill>
            <a:srgbClr val="00B0F0"/>
          </a:solidFill>
          <a:ln w="1016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36576" rIns="73152" bIns="36576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%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8BBDFFED-66E0-211C-CA39-D1217060E8B8}"/>
              </a:ext>
            </a:extLst>
          </p:cNvPr>
          <p:cNvSpPr/>
          <p:nvPr/>
        </p:nvSpPr>
        <p:spPr>
          <a:xfrm>
            <a:off x="9342369" y="6058226"/>
            <a:ext cx="160813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E50A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% Share in Total Sales</a:t>
            </a: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A2BAC9CD-6824-440B-8E7F-FC8F70F0D776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1719263" y="5141913"/>
            <a:ext cx="6429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30C65128-B3AA-40B7-A816-2AEB1D0898F7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3433763" y="5083175"/>
            <a:ext cx="6429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4BDEDA77-6F9D-4BF1-8DEA-55F84A44277F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5148263" y="5006975"/>
            <a:ext cx="6429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66E94AA3-9A52-48D8-8B14-716DFFC70DDA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>
            <a:off x="6862763" y="4979988"/>
            <a:ext cx="6429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100DFBA5-A197-4F2D-A650-696EC068F2A6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8577263" y="4965700"/>
            <a:ext cx="642938" cy="0"/>
          </a:xfrm>
          <a:prstGeom prst="line">
            <a:avLst/>
          </a:prstGeom>
          <a:ln w="9525" cap="flat" cmpd="sng" algn="ctr">
            <a:solidFill>
              <a:srgbClr val="6E6F73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2" name="Chart 41">
            <a:extLst>
              <a:ext uri="{FF2B5EF4-FFF2-40B4-BE49-F238E27FC236}">
                <a16:creationId xmlns:a16="http://schemas.microsoft.com/office/drawing/2014/main" id="{79E475E8-AFDD-DFE8-3255-A5435F584FE7}"/>
              </a:ext>
            </a:extLst>
          </p:cNvPr>
          <p:cNvGraphicFramePr/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136944993"/>
              </p:ext>
            </p:extLst>
          </p:nvPr>
        </p:nvGraphicFramePr>
        <p:xfrm>
          <a:off x="244475" y="4311650"/>
          <a:ext cx="10452100" cy="130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5"/>
          </a:graphicData>
        </a:graphic>
      </p:graphicFrame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F608B748-04E5-4FC3-A269-6D75394F44B6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922338" y="5053013"/>
            <a:ext cx="520700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EA1C3AF-3022-4EF1-BA8D-17F32ADC8BC2}" type="datetime'2'''''''''''''''''',''''''''''''0''''''41''''''''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2,041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478A646D-E486-4D26-A928-AF3C95460E20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74650" y="5588000"/>
            <a:ext cx="16176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C5D1D50-7BC3-457C-9CE7-FF3ECDA30DA0}" type="datetime'''''''Earth M''''''ov''i''ng Equ''''''''ipm''''e''nt '' '">
              <a:rPr lang="en-US" altLang="en-US" sz="12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Earth Moving Equipment  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CAAF6531-C3AF-4D89-B010-D2188B2DE5D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3033713" y="4973638"/>
            <a:ext cx="263525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472DE9F-B822-47BF-8563-4B56CA640AFD}" type="datetime'''5''''''''''''9''''''''''''''''''''''''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59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8562735C-D7FE-9F4E-8F58-1B25B3A53E0F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370138" y="5002213"/>
            <a:ext cx="520700" cy="219075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44C3F6-BD23-4D55-94B6-A9370A8FCB2F}" type="datetime'''''''''''''''''''''2'''''''''''',''7''7''''''''''8'''''''''">
              <a:rPr lang="en-US" altLang="en-US" sz="1600" smtClean="0">
                <a:solidFill>
                  <a:schemeClr val="bg1"/>
                </a:solidFill>
                <a:effectLst/>
              </a:rPr>
              <a:pPr/>
              <a:t>2,778</a:t>
            </a:fld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067A1CA2-B5B8-42F6-9849-7D447B545122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2259013" y="5588000"/>
            <a:ext cx="12779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4BEC63ED-9D37-4DD7-BA4A-49A3D4A2D7CC}" type="datetime'Con''c''r''''e''te'''' E''''''''q''''u''ipm''ent'">
              <a:rPr lang="en-US" altLang="en-US" sz="12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Concrete Equipment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0A194429-2E64-495E-BAFB-D6309F55024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4748213" y="4897438"/>
            <a:ext cx="263525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E48FE27-D9E0-44CD-9C2D-831EB605288C}" type="datetime'''''''''''''''''''''''''''''''''''9''''''''''''''9''''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99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BBCB61A9-7E73-4264-9A1C-C36316121B44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084638" y="4935538"/>
            <a:ext cx="520700" cy="219075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3FB2C6E-8F1A-4834-BB1B-A4E6C99F9368}" type="datetime'3'',''4''''''9''''''''''''''''''''''''''''''''''''''''''7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3,497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474E4B15-7867-4A24-91C9-F090C6A82C94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4052888" y="5588000"/>
            <a:ext cx="11176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D1BECF7-7F97-4199-ABF7-5D06F9FD888C}" type="datetime'''''''''''Ma''ter''''''ia''l Handl''''i''ng Eq''''uip''''ment'">
              <a:rPr lang="en-US" altLang="en-US" sz="12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Material Handling Equipment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92A9BF00-2A8F-4C4B-919F-711BB6A78A06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411913" y="4870450"/>
            <a:ext cx="366713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D587ADE-45F3-4D08-BA3B-4FDBC8FBF54B}" type="datetime'1''''''''''''3''''''''''''''''''8'">
              <a:rPr lang="en-US" altLang="en-US" sz="1600" smtClean="0">
                <a:solidFill>
                  <a:srgbClr val="FFFFFF"/>
                </a:solidFill>
                <a:effectLst/>
              </a:rPr>
              <a:pPr/>
              <a:t>138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6F72B799-CDE2-4A29-86EF-A5BA19C1E3E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799137" y="4884738"/>
            <a:ext cx="520700" cy="219075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5C98B6C-27AE-4E93-B559-40200521B7B0}" type="datetime'''''''''''''''''''''''1'''''''''''''''''',''1''''''''88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1,188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A80B8E41-1C38-4F16-974F-6EBB35772915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5749925" y="5588000"/>
            <a:ext cx="115411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39E1643F-4A98-4D71-98E1-8F59763E8293}" type="datetime'''R''oa''d Co''''nst''r''uct''io''''n Equipm''''en''''t'">
              <a:rPr lang="en-US" altLang="en-US" sz="12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Road Construction Equipment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67FF8FD0-5B39-45A1-A20C-3A6FA1F6C010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8126413" y="4856163"/>
            <a:ext cx="366713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6762005-D5DA-402B-8B0C-04C950B8AFBE}" type="datetime'''''''''''''''''''''''''''10''''''1''''''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101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A8B0B49E-D68D-4EA2-84D5-0F552C6DB709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591425" y="4864100"/>
            <a:ext cx="366713" cy="219075"/>
          </a:xfrm>
          <a:prstGeom prst="rect">
            <a:avLst/>
          </a:prstGeom>
          <a:solidFill>
            <a:srgbClr val="2959A5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F298F13-F1AE-4BD2-90CE-A07E52B16F0E}" type="datetime'''5''''''''''''''''''''''''''5''''''''''''3''''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553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4B30740D-D88E-4D4D-B626-6663FE57D86F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7427913" y="5588000"/>
            <a:ext cx="12271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3E46317-CB13-4E1D-91C9-4865CB5F02F2}" type="datetime'''''Materi''al'' Pro''c''es''''si''ng E''q''''ui''''pme''''nt'">
              <a:rPr lang="en-US" altLang="en-US" sz="12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Material Processing Equipment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D383A45D-6A2B-43CE-8512-D035A0F74024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9494838" y="4310063"/>
            <a:ext cx="520700" cy="219075"/>
          </a:xfrm>
          <a:prstGeom prst="rect">
            <a:avLst/>
          </a:prstGeom>
          <a:solidFill>
            <a:srgbClr val="0080F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BAA9F84-E37A-416E-9E67-1C16EFF6493A}" type="datetime'''''2'''''''''''''''''''''''',4''''''''''''''3''''''8'''">
              <a:rPr lang="en-US" altLang="en-US" sz="1600" smtClean="0">
                <a:solidFill>
                  <a:srgbClr val="FFFFFF"/>
                </a:solidFill>
                <a:effectLst/>
              </a:rPr>
              <a:pPr/>
              <a:t>2,438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CF9CDCB1-39AB-4939-BDDC-11EE4BF30AF0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9582150" y="5588000"/>
            <a:ext cx="3460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B5CA3F9-4033-41AB-AFBE-27723680BEBC}" type="datetime'T''''''''ot''''''''''''''''a''''''''''''l '''''">
              <a:rPr lang="en-US" altLang="en-US" sz="12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Total 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87B33632-E684-4788-9BBE-B011BB3FA1FC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871538" y="4833938"/>
            <a:ext cx="6238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8ED365E-152B-4C0F-B590-B459B6690455}" type="datetime'''''''''18'''''''''''',''8''''''''''''''''3''''''1'''">
              <a:rPr lang="en-US" altLang="en-US" sz="1600" smtClean="0">
                <a:solidFill>
                  <a:srgbClr val="000000"/>
                </a:solidFill>
              </a:rPr>
              <a:pPr/>
              <a:t>18,831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780C3B6C-8F94-4516-9C47-DD326CEF89E0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2636838" y="4754563"/>
            <a:ext cx="5207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C6A1A51-4F08-463C-9D7A-6FC2291E4C06}" type="datetime'''''''''''2'''''',''''''''8''''''''''3''''7'">
              <a:rPr lang="en-US" altLang="en-US" sz="1600" smtClean="0">
                <a:solidFill>
                  <a:srgbClr val="000000"/>
                </a:solidFill>
              </a:rPr>
              <a:pPr/>
              <a:t>2,837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DD67C909-6C68-42D1-9933-AE9090302D65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4351338" y="4678363"/>
            <a:ext cx="5207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478237D-6606-4EAA-A2F1-D172C08CEA5A}" type="datetime'''''''''''''''''''3'''',''''''''''59''''''''6'''''''''''''''">
              <a:rPr lang="en-US" altLang="en-US" sz="1600" smtClean="0">
                <a:solidFill>
                  <a:srgbClr val="000000"/>
                </a:solidFill>
              </a:rPr>
              <a:pPr/>
              <a:t>3,596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9D163A00-9380-45FB-B277-336990EA93DE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6065837" y="4651375"/>
            <a:ext cx="5207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B4399263-5493-4A14-A069-C1BA289B8F55}" type="datetime'''''''1'',''''''''''''''''326'''''''''''">
              <a:rPr lang="en-US" altLang="en-US" sz="1600" smtClean="0">
                <a:solidFill>
                  <a:srgbClr val="000000"/>
                </a:solidFill>
              </a:rPr>
              <a:pPr/>
              <a:t>1,326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B7EBC252-6514-402C-A5A5-915898F17E97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7858125" y="4637088"/>
            <a:ext cx="3667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16F1AC4-F8B6-4551-9241-706490F113B6}" type="datetime'''6''''''''''''''''54'''">
              <a:rPr lang="en-US" altLang="en-US" sz="1600" smtClean="0">
                <a:solidFill>
                  <a:srgbClr val="000000"/>
                </a:solidFill>
              </a:rPr>
              <a:pPr/>
              <a:t>654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98B3B2AA-C2BF-4741-8CB2-DD75107B42F2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9444038" y="4090988"/>
            <a:ext cx="6238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B0DB0329-136F-4DFD-ADA3-272A4AB2FDE6}" type="datetime'''''''2''''''''''''''7'''',''''''''2''''''''''''4''''''4'''''">
              <a:rPr lang="en-US" altLang="en-US" sz="1600" smtClean="0">
                <a:solidFill>
                  <a:srgbClr val="000000"/>
                </a:solidFill>
              </a:rPr>
              <a:pPr/>
              <a:t>27,244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E860059A-FB11-4FE6-BDD9-C6183553BAA7}"/>
              </a:ext>
            </a:extLst>
          </p:cNvPr>
          <p:cNvSpPr/>
          <p:nvPr>
            <p:custDataLst>
              <p:tags r:id="rId57"/>
            </p:custDataLst>
          </p:nvPr>
        </p:nvSpPr>
        <p:spPr bwMode="gray">
          <a:xfrm>
            <a:off x="10674350" y="5080000"/>
            <a:ext cx="214313" cy="160338"/>
          </a:xfrm>
          <a:prstGeom prst="rect">
            <a:avLst/>
          </a:prstGeom>
          <a:solidFill>
            <a:srgbClr val="0080F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9880C134-2706-46F1-B666-BCFB49BC4453}"/>
              </a:ext>
            </a:extLst>
          </p:cNvPr>
          <p:cNvSpPr/>
          <p:nvPr>
            <p:custDataLst>
              <p:tags r:id="rId58"/>
            </p:custDataLst>
          </p:nvPr>
        </p:nvSpPr>
        <p:spPr bwMode="gray">
          <a:xfrm>
            <a:off x="10674350" y="5303838"/>
            <a:ext cx="214313" cy="160338"/>
          </a:xfrm>
          <a:prstGeom prst="rect">
            <a:avLst/>
          </a:prstGeom>
          <a:solidFill>
            <a:srgbClr val="2959A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338D7D87-ECF4-449E-A952-D4D904047358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10939463" y="5087938"/>
            <a:ext cx="4651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15EAE0C7-5E2D-4AEB-9B75-8A131E552E07}" type="datetime'''Ex''p''''''''''''''''''''''''''o''''''''''''''r''t''''s'">
              <a:rPr lang="en-US" altLang="en-US" sz="12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Exports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D7B53002-3D03-4B85-8FF9-EC43C85A1401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10939463" y="5311775"/>
            <a:ext cx="9318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2A58D841-7909-4B56-9A2C-96EDA3AA51D5}" type="datetime'''D''''''o''m''''e''s''tic'' S''a''''''l''''e''''''''''''s'''">
              <a:rPr lang="en-US" altLang="en-US" sz="1200" smtClean="0">
                <a:solidFill>
                  <a:srgbClr val="000000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Domestic Sales</a:t>
            </a:fld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982080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5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5.59435411000000026860E+00&quot;&gt;&lt;m_msothmcolidx val=&quot;0&quot;/&gt;&lt;m_rgb r=&quot;1E&quot; g=&quot;50&quot; b=&quot;A0&quot;/&gt;&lt;/elem&gt;&lt;elem m_fUsage=&quot;5.31441000000000163261E-01&quot;&gt;&lt;m_msothmcolidx val=&quot;0&quot;/&gt;&lt;m_rgb r=&quot;A4&quot; g=&quot;26&quot; b=&quot;49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vDZbxzysr6Drcgmdqzh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ZSi3hwuKk7iPvcMYIv.w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7GpTfhUOvpq1u0UPMe5g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fXqvazvr5YI_Gua1F87Q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kMKiH10ICind_NHTJUdA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gMQlknPuL64HFp.G0mw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KxNjVy_VrBe2qAFfc6AA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tUgWl1DYoanh8t8Y548Q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WhSJQW1Hgudo0s8yGWZw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mM.fNcK47XQsxDgavEXA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syFezvz5q7t5xKbYwwog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.mcTh5mAmWu14kWY_xH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mLmagvLM03Zz8fKo_XFw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ScSKCI9vNYaFZvPGAbmA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th4wP5Ch2aDUAIxYHfvA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sfzsrzV4LuQRh9g9d.aw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TpNe2bqppi.d6fPLInSA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iGzhushsUB70wpIjngjQ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4nrcMbf7M3.pSf.R91hw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Izb0yl8fXZYGmcVLLbkg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lC4WJL1dJ9ngzRZ79F1A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qJ9xUDAe.Al0UDid2HC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fd72okoLFVer8YDOmd7w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oEb3LvvdkGF3t13LW92A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yoPiHXAW6fBW0q.kzUpA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3OU51xHzXGYXymb_2BKg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RL9E30iMI_oPEhei6SkQ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qQN9ETpxEQ0gQrH6cGpg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ugsl2.ZM92.zREM44OrA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xQEW6_OP9U50npcQtEOw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KOBrIYnxhfrH3qXhfk0g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bnQilMxooKDLSkZx8XBg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KUjkgw2dvrISFG7PztV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Lq27XgIp2DUeuNXfCp2g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PsUavxLB4X0be5Vme1Rw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zI26o8.aAimApZsuQSIQ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HAKLVpibDQwLzISOy34g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3MhCE1WAVL8CIHwTxGIw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Dv.j46EQfqpkT9gFEVig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mxuLsykYbyqg4XlVpBlw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pFvGYtly47sTe9IAUE0Q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AWq6pFFh0rSv9ZIYojZg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fXqvazvr5YI_Gua1F87Q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bXfRAx1eRpMydoGM_Rk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pVbP2kY7Jkk.ApYGcLQ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gMQlknPuL64HFp.G0mw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KxNjVy_VrBe2qAFfc6AA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WhSJQW1Hgudo0s8yGWZw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zZ5EoybvJIOyxxX6hY1A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syFezvz5q7t5xKbYwwog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uBwI8.H51oCqX.7yNZTA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ScSKCI9vNYaFZvPGAbmA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th4wP5Ch2aDUAIxYHfvA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Tn7XVrzVwWyNaOUbH7W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5rSgJBJKeGJ6Emg8Ov5Q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_olizZGnr.0YgNLn5cZg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4.fYshL.gcTHqd6n2iwA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en7TJOEQF9B7ShvQd.IA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_Qz6pfxTXxc9QL3TELBw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PlEFDluPg1lbJOQ.pDpA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hlnsu0.e15c9GjTpX5Iw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fjGp2XVNL0DBjbx5inOw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7FTHH_g47Qobxx08KjyA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35pIfoe.yAjdewfgkJQ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sa2j0Bqd9e6YeL9wYMF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CyL1yiGV8RpEWYAaEnlw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NkT7Ah3t0T4qnyCZvMvg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4DxP4tjbxK8eGvVgUkw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5XefQaJ6cvC5RJ1XyTdw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sfzsrzV4LuQRh9g9d.aw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gV4gvUufemMRwnO_aEGg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xQEW6_OP9U50npcQtEOw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D7S_pCjZDKqeN57x_DPg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KOBrIYnxhfrH3qXhfk0g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qpMEYEVH9pUjujVTlKkw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bnQilMxooKDLSkZx8XB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lVi4YxwGhESL8SHYkLgA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KUjkgw2dvrISFG7PztVw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xKU1VC7BMoJKVBJgRgkQ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PsUavxLB4X0be5Vme1Rw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lxqz_DZ24u5If6.un_Gw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zI26o8.aAimApZsuQSIQ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I0ksZmm79_aPyKjuxEdg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HAKLVpibDQwLzISOy34g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3MhCE1WAVL8CIHwTxGIw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4rhW1ES_YCMYgSf_ub1Q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mxuLsykYbyqg4XlVpBl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XEJnSsnHoy2wOhICLj2g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S3_9rQGOtVTqw4xOBdIA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pFvGYtly47sTe9IAUE0Q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mgRCHidieR208BQuGFfw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fXqvazvr5YI_Gua1F87Q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gMQlknPuL64HFp.G0mw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KxNjVy_VrBe2qAFfc6AA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WhSJQW1Hgudo0s8yGWZw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Ty_3e9zzYA_jokch1fng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syFezvz5q7t5xKbYwwog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nlOgINIKFUBJBPb24oo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DkX5jbCbsSRD85z_pYlA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ScSKCI9vNYaFZvPGAbmA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th4wP5Ch2aDUAIxYHfvA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sfzsrzV4LuQRh9g9d.aw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5uE6zIUnrh3tRBfRZgdg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lqU3EL9nUOdl1CRNE7LA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R5waugzDhTYv2.wJZk0Q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lMEVo0S2IXCaVgt1K5Q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Pog6mpZHYxX3tMolxiAA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dPdzLSpYJWppS7lmNpA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fsAfSB_ez2QIuNu4nMzw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onAdN4Aid8bugtHt4FUg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Bv0I52seTS97JdzAYDwg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UhVhSkmWHd9SstUhZX.g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xQEW6_OP9U50npcQtEOw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6.GtTcM3_2cOluSp8oeA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KOBrIYnxhfrH3qXhfk0g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bnQilMxooKDLSkZx8XBg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KUjkgw2dvrISFG7PztVw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xKU1VC7BMoJKVBJgRgkQ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PsUavxLB4X0be5Vme1R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5ZGZ_q2G1AnYKwEyxC1w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zI26o8.aAimApZsuQSIQ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I0ksZmm79_aPyKjuxEdg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HAKLVpibDQwLzISOy34g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3MhCE1WAVL8CIHwTxGIw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4rhW1ES_YCMYgSf_ub1Q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mxuLsykYbyqg4XlVpBlw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pFvGYtly47sTe9IAUE0Q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fXqvazvr5YI_Gua1F87Q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gMQlknPuL64HFp.G0mw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KxNjVy_VrBe2qAFfc6A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zb2FnUs2.bY1safIn55g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Jhb6SR41hTQQqzClMTnA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WhSJQW1Hgudo0s8yGWZw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Ty_3e9zzYA_jokch1fng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syFezvz5q7t5xKbYwwog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nlOgINIKFUBJBPb24ooQ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ScSKCI9vNYaFZvPGAbmA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th4wP5Ch2aDUAIxYHfvA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sfzsrzV4LuQRh9g9d.aw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Ow_mrlHB0bM0qOImDSJ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NommZ5sCnWY488gCjiqA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H_eRNxdyhcxtYztc8aEg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zYJN.VpbFTmWfz5xtBew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9zV9xLKCseN.IvAOI_fw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wcXIozW6ybnvdyBcEHQA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MplLbTRp6n0npBkTWDDg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zd.LHfgneWabBAkZkytg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712_a5DECBMAx74WRX4w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OX.iF2i6OXaPEvj1z.Sg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01EcMHCt1xD43YpD.QOQ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tzTXDW4aRlQPjPirRiD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J9I1H067PXB4ft1oZCbg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O7q6rW5a0H.fOkIjP9lA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xQEW6_OP9U50npcQtEOw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KOBrIYnxhfrH3qXhfk0g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8ZGQGDG5mqZ9pMaVN9mQ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bnQilMxooKDLSkZx8XBg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KUjkgw2dvrISFG7PztVw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PsUavxLB4X0be5Vme1Rw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zI26o8.aAimApZsuQSIQ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HAKLVpibDQwLzISOy34g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3MhCE1WAVL8CIHwTxGI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D.VfUNTe2ouNH0Z2WLdQ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4rhW1ES_YCMYgSf_ub1Q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mxuLsykYbyqg4XlVpBlw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S3_9rQGOtVTqw4xOBdIA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pFvGYtly47sTe9IAUE0Q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fXqvazvr5YI_Gua1F87Q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gMQlknPuL64HFp.G0mw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p.gVZvEPvYKPB_hsBKw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KxNjVy_VrBe2qAFfc6AA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WhSJQW1Hgudo0s8yGWZw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Ty_3e9zzYA_jokch1fn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OfYRybMiGAQ7ycNb9hzQ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syFezvz5q7t5xKbYwwog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nlOgINIKFUBJBPb24ooQ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ScSKCI9vNYaFZvPGAbmA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th4wP5Ch2aDUAIxYHfvA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sfzsrzV4LuQRh9g9d.aw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BpjlzPeqYrhPGAoEsoiQ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fI3A4yFRe8OfIGPDDlqw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2j6WjOJJiCP6DhK4Mxw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6I8n0bks1dfVFaiP4u8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WDt5Ok2ZQ4rwUviuPUtA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pOKzOD5i1BWnOYm7vKLQ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xDnhKw6_VkouFJWRD8GQ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nFWclPNxWgiaD3JYNqvA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Z0GYxd61WKpHuwS5XAZg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vCCGvbYnc1bk7iOxDDRw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xQEW6_OP9U50npcQtEOw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bDt58lHaQfhuJ9xwUULg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KOBrIYnxhfrH3qXhfk0g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LDX9becRci7KRV.AismA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8ZGQGDG5mqZ9pMaVN9m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jKej_EOkrGEo5kO35fWg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bnQilMxooKDLSkZx8XBg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KUjkgw2dvrISFG7PztVw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PsUavxLB4X0be5Vme1Rw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zI26o8.aAimApZsuQSIQ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HAKLVpibDQwLzISOy34g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3MhCE1WAVL8CIHwTxGIw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mxuLsykYbyqg4XlVpBlw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S3_9rQGOtVTqw4xOBdIA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pFvGYtly47sTe9IAUE0Q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mgRCHidieR208BQuGFf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YOmIS5c.N6qD2brsAbGA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fXqvazvr5YI_Gua1F87Q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gMQlknPuL64HFp.G0mw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p.gVZvEPvYKPB_hsBKw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KxNjVy_VrBe2qAFfc6AA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WhSJQW1Hgudo0s8yGWZw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Ty_3e9zzYA_jokch1fng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syFezvz5q7t5xKbYwwog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nlOgINIKFUBJBPb24ooQ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ScSKCI9vNYaFZvPGAb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huUsiREkWIwolLLfJMZ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FRdxWap3n9DT8CwgXdoA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th4wP5Ch2aDUAIxYHfvA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aYDOgHlNnnPRRqp8X6Sw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svn2ADdunBhRxFGhbDGA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7RH33PN8D82d_gpwDvbg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0M_8zKe919IUB0eCxd.g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ZbKMWx.pwVamvoy.lfBw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A.VqZcqxAnhh9UDnti5Q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PfQlaUqYAp6ZIhwia2LA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G061AnXvyIQchPZ5PfPA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W1TF8tiijP7ayrKW9jb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xlnTsQnzkP5D4iBI1D9Q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cjDudgXhMeYMBLoIS16g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O8PtXpj.0ftXd6kQqx8Q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otMIdjyroYFAC6gNky7Q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m9ws7w11fgq01RtkcEPw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sfzsrzV4LuQRh9g9d.aw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SNEIa1eJX74iOmavN2HQ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hUw93lkxB9dlFmOjiBng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xQEW6_OP9U50npcQtEOw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4SiWto92M2_ZYWA28vVw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KOBrIYnxhfrH3qXhfk0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Z07fx_rs5.7_T2MF8Fzg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FeBw1txJ3ZKstqwQFWhw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bnQilMxooKDLSkZx8XBg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KUjkgw2dvrISFG7PztVw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jS4htJqu.mB0sDboIF3g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PsUavxLB4X0be5Vme1Rw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zI26o8.aAimApZsuQSIQ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HAKLVpibDQwLzISOy34g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OH3NMhAIk.sUnbMl3p.w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3MhCE1WAVL8CIHwTxGIw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mxuLsykYbyqg4XlVpBl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VwI7VlKAV5fRAlW7_TXw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nQu62AHkvbg8xexSbZ0A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pFvGYtly47sTe9IAUE0Q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fXqvazvr5YI_Gua1F87Q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gMQlknPuL64HFp.G0mw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KxNjVy_VrBe2qAFfc6AA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WhSJQW1Hgudo0s8yGWZw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2zfipVUZCYB7AKqUYW5A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syFezvz5q7t5xKbYwwog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BMzythPem8alCmyPVd2A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1GZWL02VjCcs0pwIEXQg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ScSKCI9vNYaFZvPGAbmA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th4wP5Ch2aDUAIxYHfvA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sfzsrzV4LuQRh9g9d.aw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9R9x3HHDIDGbtBhoxdfA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eC1pGBuqoKOmx9UcfQ5Q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OqiYVYdq7yW4crhqPMaQ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V3VVZA_KFUoBkKTmjkJQ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7wTLcxtXGH0IPedn3t6w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DV5ks29_oBy6iw8A8B2Q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K076IO6FCC.LbawBvGc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uoFGhnZukM8A4DMFLHVQ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SWe_9lO9sNwk_mMY416Q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gYa2NX60OYGBX807gIAg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aaMOctAp3fSJJR8BtC2A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xQEW6_OP9U50npcQtEOw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2eRUf9e_xAyh4Fuvn89Q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KOBrIYnxhfrH3qXhfk0g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bnQilMxooKDLSkZx8XBg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KUjkgw2dvrISFG7PztVw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PsUavxLB4X0be5Vme1Rw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zI26o8.aAimApZsuQSI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2nlX809.cFuh3AWBo.uQ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HAKLVpibDQwLzISOy34g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3MhCE1WAVL8CIHwTxGIw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mxuLsykYbyqg4XlVpBlw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nQu62AHkvbg8xexSbZ0A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pFvGYtly47sTe9IAUE0Q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fXqvazvr5YI_Gua1F87Q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gMQlknPuL64HFp.G0mw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KxNjVy_VrBe2qAFfc6AA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WhSJQW1Hgudo0s8yGWZw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2zfipVUZCYB7AKqUYW5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v12zNdX9A53yLkIzrRmg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syFezvz5q7t5xKbYwwog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BMzythPem8alCmyPVd2A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9EI4ksNg9OM12KC8c1Qg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4RCZLJUzOB9kRVXVjvQ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2Y_RsPZXwBLAi7emC3Ag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tkMoyyE04tAqK9ux8wQ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Hoeb3j_lUakhhHrGva_g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c4Md7SI56X6u2YTyi2wg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PAiuOuR28dQ02R26K.o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deUCWX8.ikX6Ud3RjHGQ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Gy.NZRfWmivX7zup78PA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xNmikZuy2yd3gipmX8CQ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RytiSEp0HX81Ss0VFOvw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h2eqWXKq5PlcWqWQR8zA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MQu9Ftw7JsS2xzwUExEQ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YlmkYvwtx27iK09j8L2A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hoeaDh55Y.mUmpPzIUQg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QtrBqak5s81Ur1tgA6Bg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S4Y2rkxPh6AuVzHyS.kg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jC.gBrXl94gBbxUSmeO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5DzGVfZdlggfKNtm3f.Q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74fYUIiGtVHraV1xUpwA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orfZ7gM0Yv.5AzENkaBg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FBNjtw16n1oV042f72IA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.usXp2N5XFN2DCa7qwuA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J1VfdJas5.wVJJbGW5QQ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xdZdi2V7LVi215_R3ayQ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rGy1ZJKGlHkaDGcKyi.Q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LdiZlMJcd4M9nJITULWg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Z8_VnVDmHY4nHJgbKDjQ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3_f9Q5ldzIbQBspuSP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cCE5MskPTLlKIKzy.HOQ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K0_ZDMTHSq7zrLYJYtVQ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mAWcH_XrebLMfbiwpp1Q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JnO_ES4_HhI3E.zZa0Ig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PxDgUNq9d8IfCNqOgPlQ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L5Lh0SY4lHna8p.WNniQ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iPoYi1rK68Do2ccSY5ig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2.3Abre4.1XpVn2GqiXg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lWW91OOJCf2hmxnHjDNA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2iTCIPQLSIrwA6Y0Y6bA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AJKRUZ9gmDc4QClcShw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w9968g63Fi7b2gQjXi4w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8aYDqiPRxf2hfY08sFeQ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jh_yqcAMzy_0ME87NtMQ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7cKd98KVtvL4IFq_j9jA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cXBSvSQKOJgIADnUGHgg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1WoFbFBexxoMLMRJJUsQ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y7WtzIa041PUQ.liGfBQ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sOrB.U06vnvG000h3fJA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rysB7ng_L.tNHqeu1wTQ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UA1X9pEXTnd9thfbwwIg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XQUqs6lJSCdGKUYed7A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CoGO2TCEJTsONsaFWpow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X010loNRKx1ihcBSNRDg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nh_cOw_S4DrhKaOG5cwA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Sb8Uj9vtdaaoTJ_Xmzww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kQgWHCys1ToDpnW.gWcw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Bd.OA_9GLhWeO6XT98.g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tj2j_vs0RBWsJoxturWA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uYAFly4b.HboEZrZudQw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O2DyKuyU9EoLeNDBa7Ew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NBappky5Dl7K84H.zHiw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g2QaFeEtG0ZD.kLE9Nz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iuSXiu6wjCJaEI.SL7Mg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fNiEVL61_B_2GC_0mlcQ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HMBtT_e4tvWS6qDMPeeg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2ff0XCQdJQFFoOHdgzXA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5SHAH6hck8PdAbL3mHNg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nPNdUQNggFJIDlzBqCaQ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UswuA5hF9qGD7A4_CrOA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zoCbtwiaiZ4pUGcNtvNA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6D_xEqOHvnXlPV5uiK8Q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mJO1MBrJjpoJrY.XxOY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r.86vhPMc0gMU3HJmo1A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QHc8w9eMjMBGBLCEbZ6g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BHxmMvOt0BstywVyYgSA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May8LkV5qWu8fgPK.tyw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h62GECpzir21MV34BslQ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nCi6ieOkqB7wwNDANVxw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fPhDjgr6QG1s85pAE..w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L67CxAKgnSLm0ayd0EEA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siYblrWhP5Gpym7IKtTw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TDpLZCVf_2Icb8Uio3g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HE9S535WJ9bFfysoVd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.W8WY_wRnyroBo81Bjdw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d88NxNQ7bt9Qoot1jVzw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OgvMD3ZxqsNabwaefWhA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X7zUtLT4L2PpbYrMVyEg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cBRrBdarsbDDpobTQ5hA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klk1495MjpYZGgMi6y.Q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87REkl4nQayewjVSSLpw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Conn5UpuA549n.nD_7Nw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91QEKhJJUW8u1Gb8LAWQ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woaCydhaCIbtZwD7HZDg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wxPUN2ZSFwPy_CmIChB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iJdax4w_a2wKQgr8D8Hw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M34XapjWbBN3e7ksb8MA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Ax9ZWRrclK2h710fNdgA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dYu_2ZxVuuhVtYYdtTfQ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1SQU.LHanCvQbHk1I_7Q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mFWU2DJ1A5KIm..MpnlQ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On65FlUbIqr1LAK48sJA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WY2VNr.RS0HLLVnGa_IQ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lXAAGJJEO.doTgPucmPA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A1qdBXaym3JB0Xj7plwg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CZQtnJrxEh1eqpgJEYE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UpNjOJvy_HJ_kOSiNQdQ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MhBX2MMYjQjCcRCSV3Nw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NuAbc41Na2xCTzuSSyAQ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Y.K69YjULzZk4cS4hMQA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40Wpq40lR0YAI4B8sERw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Lc0TrVo.ebYAa4jTpeZg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oqu492v7669sr_wfBsCg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ID7RyDF4.J01pHVXq_Q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pj0h6MIlfSDaZoJ1NjmA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93zoeUh9Q4bySCjZl5gA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e9qScj45EZW9xy_NpM4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ew3q0D1FGzHoKzix9kqQ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AlcZYfRrtsM3CY_QIEYw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l6pL.Fy_MOtIh5D9FmkQ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EPpovpYzLqsNA6RxG63A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ghOtPWPDr4DDMXdEmY5Q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hIX9GI.LnV1O071i2obA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M9nt661sthT5SvW0l1ug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8h5XIyKWHlN0ZoOvet_A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lDnj5P0hTzdDwPwBxF3Q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ZBiO1uudG0y5dKXng4kg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kgNNx8.V1M7L5lQFLTc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W6qJO1ml5EESUDjU_EqA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G2Pb4mhPcmu.2178N06g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WjXrcp48Y8UHCd5WkOw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3mP2VavedrATZfmz8EMA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BT9JmR4m_ZKRrNtkRBFg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_rxTWCFqjbxkjsQaLaWA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LWrpQzcWJnH9YRJRaIIA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CExkElLMVFZffDbLIyFA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g1O95ASWVk0zcPmbzXrw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4T_tK.sNw6Bbe0BjGX5w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CWKEkJoJ2XekFXGuG5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NBvdOZchmqMgvigNY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rSqfBKOAMLQNt2RwpRMA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Vjvy0mhN90u.BLKkuCNw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H9GTuGknLlluG0ItuRmQ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_RNNlgmTyxR7YFsWFKg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hwEUnHA0vzPJ1_4jBhxg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iePkASmHM0IivKMo1sqA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Qz31fxbg7nwYJ9lj9j0g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srEEojSaOQPs3GpOT3iw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Iy1knTKXw.rEJ0sR4tyQ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B53EuHuPHEq7RVK2HHEQ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dFbf7SCC3bx5cHUEfq_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_PLS7AHopNWpXwdutHSg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pmkfkTVIqN7PvTqBvkag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2NUBWOOe5ODy.nXtjfkg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0QXLggBn7z.N7Md71lEQ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C8Uc_Gti1c19yodpuVGg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N_yFsaep.ICKMEsVuSyg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XNXA3p_.jUFT.OuehpYA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cbErzNgob7FvPRBoxn_w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VDc4LrBrnc2tPA0Y19Gw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wU9QIq.SMuNQjYPxQMhg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PEANCdmwN46cfTVJvho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V4K.pcU9F_quIO7W_e6w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WDk7bIHaFwSNPmLEC5ow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tm9LwAEgBmpeRTh2EnmQ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HQ09cBWQV7FSFjeNAuXg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iJbDmClZ_FmGrlzxThXw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878elT6vcu_6VEH76pDg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HFDJMi.gFeTjicSiDNKQ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tbjactoc_B6xhK8MPZoA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3ytAuSaI2zkS_3_sw2uw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QZ2M8K1l5NYxFr9UnUiA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PruyFozQhTG8tUJi7Wg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eIdrjrSyC61azY3.fnjg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DZmKZIsNwmw2_0kpW45A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SFQWdaMKgEU94zXSkClg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LOiDXBEKe252lsmLa0yw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N_5BKUbO5SXI_8qgwTIQ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kygbCWs6A9jFjsW0GHnA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a853jAGnYZ3KrsApXtew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2NFwDjqLztXbYwKRpVnQ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kFuxWrsClesaGrPEB.Mw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UKEqznNVFKh4cdeRXUl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cDYNnge92w9QANmytSSw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bPBksHrRQFsZr4lsp6sQ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BQ06V6fnLNkOflYUVIuA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FL_lvFYdbXX0DFlNTUxw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CSHhqb_RGpmSsD5Cwiog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f9CeU.VpA7gf0XhiyhWQ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ALhPkXslTRS5zh6VFEkQ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YgS8Ew8t1nUOC3j7Tuyg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N1dTG2Z8Ap0ylTjexShA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BSzDFyLLpbTxscpE28Og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S.S4Tc4wHIHA1zT2Gp0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yank5puq7FZOF0V_5l0A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eYnTevZ0Qo1Y5PN0xM_g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EkecvgG2Qngk04_akKGA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Eu9vhqTjgtZc9F0sl.Tg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KAIBJHcxV.NwEmXFsxuA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Pln1uKbvIPauNFtNMgOA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h5bu8S0egToJ7TVN8lwg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okUoTLMq5pqTDKa8o9Ag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cvilefWrrULszW4V2pVQ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ojDmCW.IWNZJFp.OMOMA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Ije5Yqi1Hawrfjw2CsM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66Pm9B_viMLhjongJ7Qg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kFmzJkksTBoikAqv5FbA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WiD59UhjqOCHbV_GVZDg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k4s0e5.ouZ4zfTAmzjDw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deAd7xBjjOQxzPpo_H7g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KQDddc_RftsXC3igblxQ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JMAvMnqOqk8ryW.Ue6QQ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Vh57Jju2ONz9RyOvyp0Q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6dMjTAR1gVsJXrV4mGHg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pm3RroUA_00_UHlTdtnw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7i8_w.AXdCceg4vpEXx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0inAOFRFlRr6VO_CfBg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079ekJCxz0Gni5Assoqg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u6VGseQjUsuZwP2hWqLw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I96UHoPMnWyL4ZoP7rUA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PdIbS8DW5P7eNPLm33aw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FlSfDRPJGobMlMus_IyQ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tU_bLlqmbbhRvw7YJ3rA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SqClRy.Vtnkr5MYNOhmg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ptNwlWEHWVo.tX4na5vQ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ePEtY1utl_m8wbyDiYpw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puPp0d4AkpZCm2NtSIk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_scnW1odD70SIothNAaA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IC61dmWLgTk1gsgmt2Vg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.t3v4zltzoXa8H4cJVVA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zbpql21vyqtHjfAVDhRw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J2_nZMobvSIOM0838daQ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9x5V8iZK6folFay68wAw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ge75Gnq2da7VlOuNS9tg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qSHZUaUFXH0hIlmUdGPQ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DsHwudbvCV4oo__JmiHw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FHab2CFTMfgli7s3QdkQ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vCFYr4tBXSKcBAoTFw7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.OqTttOcgF9nkkBnD0aA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L6zivhmjPczIi.OGi8Mg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Jd74oad373fjfgqIzV2A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MGwqD1Bvs6v_.as.Y3eQ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p1qOek480oz3xXOhVjjA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RjiESYeqGekoOwRw7.Xg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dGZul_rzTTiyqwo7kK7Q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HmZsjoKRUWK6XvLNxKfQ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oXl3g6vj3wK4aZ1cNS1A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_SoqNPpctB7T4Bxi8WwQ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nhComCWJQP1clKmcWbj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mNBvdOZchmqMgvigNYk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QJzUWxhrMflZPmGUWt0g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5dZ3lnDF9tysWeGYX8TA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fdyWaqtpT18Go1RNaZlw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1OqPd8sKjcH.0Rr_N4Lw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3Rb0SOljFwcmTaImDAGQ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EpyEFzEWnkLPum3rLHZA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0JghbNTVeO1QE3t_8dPA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Xq.lNKpyRn._UJoXTBcQ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TPPDox0mX0bTWBfLSNiQ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DWfzbbWrKdWfAgiglzuQ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PpafWLkNZVBochGh3IW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AQk_BDDEZyN5p0tjMeGQ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7M8z.Yibo3sCAY68p3xg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IyYK4oeTG6LtbCLq6c9w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HFtzmjCnD3Qh3CfEAMUg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fxz9hRoBDh4qRul9ks0Q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t_FUtx_TqzqjIdeppiYg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sh53wnb4aqneaP9ccSnw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JrV4R00h5kT0MbD1xSEg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fKVM44ydnfL71K4nkpjQ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OWkHF4R6JYDeBrTXqnCA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KzXgP.r298SM5v.kET1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4ug8F1WeR1rcneTB6R4g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15q60FlWymDx04yjEbKA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YWb_2BE6ujJsJwDqo9lA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D74iCD_NO4O8rmlWZ0Bw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mPpWT4Tl8nY72gg60d8A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6l4MRPOyty0VeSqIW5gw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ozOksPxaNVC0UrFXQn1A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5fhRFbXO7W09sSo3HoUg"/>
</p:tagLst>
</file>

<file path=ppt/tags/tag1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j_m78E1B_4z5WtJ_xcqQ"/>
</p:tagLst>
</file>

<file path=ppt/tags/tag1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cEP2N6zZ8tc9pS7ZJnEg"/>
</p:tagLst>
</file>

<file path=ppt/tags/tag1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qWyBJGhKUQfb99V3br4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6gl1FdHJYp_fAaikREIA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33bOOhM4HNwCoOAzVSMQ"/>
</p:tagLst>
</file>

<file path=ppt/tags/tag1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3m0NyBgg7cIIXMUO3EhQ"/>
</p:tagLst>
</file>

<file path=ppt/tags/tag1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X2ELs_uU9WxCVAQxlVkw"/>
</p:tagLst>
</file>

<file path=ppt/tags/tag1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bc1d3BxEZ1D_YOnL7BFA"/>
</p:tagLst>
</file>

<file path=ppt/tags/tag1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B31D.EHndzGXpUDksyVA"/>
</p:tagLst>
</file>

<file path=ppt/tags/tag1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7yQMxYbhIaa54QN_71cg"/>
</p:tagLst>
</file>

<file path=ppt/tags/tag1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O5qAsWvxERpamLKU2PGA"/>
</p:tagLst>
</file>

<file path=ppt/tags/tag1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Kl4w9rGdOIoafmz7Mkcg"/>
</p:tagLst>
</file>

<file path=ppt/tags/tag1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dfrniWjAMFajnnGKi0gw"/>
</p:tagLst>
</file>

<file path=ppt/tags/tag1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R6PErwDiHIUv6_ooYOM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QYoShXxc5LtELJ5zmucg"/>
</p:tagLst>
</file>

<file path=ppt/tags/tag1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1hy0tve7j5GylKa1t74g"/>
</p:tagLst>
</file>

<file path=ppt/tags/tag1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tDhyrFdjZQUThtoDieaQ"/>
</p:tagLst>
</file>

<file path=ppt/tags/tag1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3rx4uipcvbXHocE5Wzew"/>
</p:tagLst>
</file>

<file path=ppt/tags/tag1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fH5mTiWIsXYE0QPtSNDg"/>
</p:tagLst>
</file>

<file path=ppt/tags/tag1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iPj_.QJQj3JhaBu2td5w"/>
</p:tagLst>
</file>

<file path=ppt/tags/tag1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_olrkLB1CnqPCcFnBacg"/>
</p:tagLst>
</file>

<file path=ppt/tags/tag1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cUg2HM_szXGESk3uzEbw"/>
</p:tagLst>
</file>

<file path=ppt/tags/tag1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MPz2WsSkfTF7XMsiSrtg"/>
</p:tagLst>
</file>

<file path=ppt/tags/tag1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UgXaojBr1ZW1rT7W0JTw"/>
</p:tagLst>
</file>

<file path=ppt/tags/tag1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cf5Ylt.K16a4xGc_2a4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FnrC9Uy8hZZ0boobjXqQ"/>
</p:tagLst>
</file>

<file path=ppt/tags/tag1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CFrSrhJKRfafZVzC.WtQ"/>
</p:tagLst>
</file>

<file path=ppt/tags/tag1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LyzXge7n_9fxYgJcO4zQ"/>
</p:tagLst>
</file>

<file path=ppt/tags/tag1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5PCFzjvOzsjZ70Ok.75Q"/>
</p:tagLst>
</file>

<file path=ppt/tags/tag1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HgvBDwO9KS51hnHkXpjA"/>
</p:tagLst>
</file>

<file path=ppt/tags/tag1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sbY8dLfOpGhladJ7X2Bg"/>
</p:tagLst>
</file>

<file path=ppt/tags/tag1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X5OVrlMK3hrn.wwXM1Bw"/>
</p:tagLst>
</file>

<file path=ppt/tags/tag1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M0FZ.N6AVRmtejNxKtwA"/>
</p:tagLst>
</file>

<file path=ppt/tags/tag1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ntZPWzVGmeeENKFLfD4w"/>
</p:tagLst>
</file>

<file path=ppt/tags/tag1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_R5L_YvadGxOfolBXrRw"/>
</p:tagLst>
</file>

<file path=ppt/tags/tag1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dLrIQVyQl9P0bUZpr6S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zGP0lSzKqEv_rwTxOJEA"/>
</p:tagLst>
</file>

<file path=ppt/tags/tag1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7rCn0oYGkdVpfhe7GDC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s_6ElpH0yzqe3RpS8E0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kOiwBHLWZXNCawcvt04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Fg2uYfx5bDQc0B5fE6Q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z.NwrUZolYaVyOVECpc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_F9hc2nvAYsyAv6MqQA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BG1W6WGpAmpqCq.mf_2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dqprze0LtuRE2ncDAdR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zFdJgg0DabzniUmXcdC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9y5zqK3oM5dYTSCBw_W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VDuEBoR3rUFXwWsx5Ii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gCz4Fuyq2FWur9VsSRu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6CmWgH5m1_6NkTt_zf8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PtktzaNGz.Wd_ET3RzO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MPj2Gln5_GQm.ETg_y_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9yMCeOzQiV7NAYntoYf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4A3eJdAZEM3ip4ZTr.Z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XIH0mqA.hUdTDqPJg24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lfaFgi9Lyrf56axc0j3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3n1KlAf9Q_dcka7q4T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r_UCUPYzNwgE6s91XLI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l0tTcw2ubwGrtvOELZY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5VSw3x078zmd5dDD8A2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o2cWc8LYxJru2ShHW.3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7gaLwqC1tHePO2eLUPF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Ns6AcoBUv3dpAxrVzYz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7GVMaRIBAfyYQd6aEsF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3BXknpokQ9oC4Kjq9hs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FSZ4ITlvmHXS8AC8BA2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9Z_4ZB9Botqum0j_jNy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EIUoG2vUl10tbUZmFJL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UtuInkE.qFmHxVAWGzR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B2iw4ZsH9BT1ogIqLWy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A1aKiKwvvbriN373gnh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T6r5NrgOz9fBpawscFa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qjLZz8Iwu4OVfFuxRLB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Fh0_3sXV6FaICqmm9d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lEqeI_85veBtnHbvwOB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Am96CIXgVioUo9gwpZ.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HSsqYe.rHtDkjeMeM82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0uTZlVteUs5SVVZfiN7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pA3ZS8R3lsTByPedilH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08raEenWWjGEc6.J9PF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jXTBn6Kn.cXKzA.n.XR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8SvFapM9w8aoWZgHpGo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X1lqieQqPim4SGqzcsn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f5XYVMdK7qALlRv2Tp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N8Q8xi4EVyHA38upNI2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MtFVN4jyLmOAvTj67E4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rcEymNDBn12AJRPLK53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Mmi1UJwueEhYS81h4.w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XOrGMHZhWiv8zq_HQDO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u7jrmS5_eVxI7u2aFCo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7NRUDMaXn670Y472g5z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ACQyFB3mzo0hkV.JbH5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TYzyv3wc1jL22lPEFeq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E81hnvWNP2meN7Uqt6n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BlstF6MhAFZ67sDGEM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NSoHtozW1JZB_AqToZ_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GZvMkehV3O98eebDvsi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Be4HrSrRL_jcj_xGzbO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Qc5u93owgM.0RNq2abA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i4L5f5zykLytbY3w5d0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EjXNFI9PutM4ewWx9qb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GEGu3VQRHHN0S21kwga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F6f19zd1YlajRzW7r1A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0wSwMi10zKmkPTaFctP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ImoyGivkRMmtrcW9oPB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crL6TN4pf51M9Fdh8BV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4XkD6jmi.wvJXuF1GAz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6wHF3ifE7uTeBTSx6N.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sC4Yuu9djs0jImZRh7O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6X_K3aLyQB2cQ8fZLrC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t8zDpTKqIaKz6pMMzov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9oFdD0_8dVLO6GYtF0V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NmSxpWQV.8zleHPLYPC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UF5PrZsWkC_Ra9jvhUX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rkv8dE7wj_IvjUujeHN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8wfXUtmyuxDKhAPrqWf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we1nEoaBNY6Y7PncvM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XYi4PA3axBG_r31c20G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QTkXpA5jWDOe22cWMmD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PbCmLuk__13K6Sv9XnW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N1J7xhw7qM2EFKhXC1k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LoDZk8cv_Qvt3TxNi.5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fN.3LQ.nuYI3ppS6Xuo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JzOYxiKMDxVPz4eGKq6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WEcE5lksNF_fisTvPvR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mOwmsQE3_hJR1s2kAvZ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x16WzvRKHf_HxFC_gv7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HK.8XMZecsJc1Pht8C0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.Dx9hOWs29s_0aShYyL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_g4gNmNo9Wt_oOtY6WF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RAkyYLzhfRFWgiJsupA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BW_TmYtRgBWb4hKfB44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xuRvQ20QUA3BBiuE15V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Gu7zx.R6ttfP2egP46m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VZ5FU9sAsSeGGIo69e3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WLXwtmzii6CIl_XsA.v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MND142Y_VyspNOeVGm5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LxiYujoo2vx_TbFWbOx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9woVbEgEe1OUhQq4KrU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mH7UcB67v.DPwWDbDC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8gPgkM.xXcH5zshBcEM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dwT6AAttcDinLBkroV7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q.MMqEqP40dO4K_IU_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OTrvmT4cAKc_UQAU1gI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O49ovAyNvJqaRfj2aLL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CJz8J9.smsEjmJp0Hp3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XseCN0dY0ZTNmc7GP_Z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51ZP1lLwwOfVNupw3FM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F_cRC68Z7CweTGfXqhM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avRiur9V5_vK3MpmxeD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ADIUaCbF1Fxuj8zmexQ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fziP28Zclfkj7gTrsL9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Eic4PIlZd9sx3oNbljF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TPpI.kKj6q.jkVwJhtL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iee3imAYPlRfWHDp3Gg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hYOhnd4W3KFAQA8LotJ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hFzeyzJ_b7ZrstrCvty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afOVzXT_fL7m41k6wzx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VR0B.2NK5WSJGW0qRsS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KP4RptnXw0WAHuWH44U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bIWXmpAWm.Zr6S3BDz.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61fivMoh2pxoFt6xb.T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15TRo2qIJhwsiLOIz6c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FPmUBqM_eqbFMaAgvsx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THmYY3OUr6sHLjx8s.I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nK1FWrvkxrC3j5S4Qrs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ciLqMkUTuzmHZBv0dke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VSSFLh5xc3RChbowWsT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VmltVwS_wbY8PGQ3W3G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464XzypmuQVeNCW5qI4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RDcqOEaQtr8xEYcrk2Z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TJ7Q_.A4ChXp276NMnD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bcqL8WiOsZEbbuk1lqC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FuiLKuEjUXGFTCKM0vU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DssqjtZxOC_11KrFer_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PFh7iNiBcRdO99aJ2RZ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n3Q90YOLT8yt8lWZXDf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R4Qz9Fhq.h7Tk6njIoe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NDbQDPPW8KXtDy22Isw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Q2kwDFSsfDCR9.YNTKv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am1IpG9FhKk5EWoPRpc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COQY88T6OgGCKH1d5lM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5jAAUGS96biBLkBi50E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yccUdnozNEccsOxa.nw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i6qBA.kJkAQrImPS5sI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VIKEjndGTJvcNcXkfvi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rbdkol2r347IYovSFMH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5M6RXN3m27sr_lxyMqx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2O7yzo6GoRc1Pe3_jwX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OJKk4EVOavYnX37kbAG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6iJLFhIEmzmIUpRHy4v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Gtjp7uvfSH2FU83jwSp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hPKMKDzBAWdUM3fvo1D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BSQ9iDsWjJkJQ0mGVtx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DizEwLC5iW_JEdtnbB8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0tYGAy_M8JKpxhTJl0W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JG8eudlK8fCRyn6DgLB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TYIom9fcihYzFj0wvU7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fr7tHxSDoZexIN5M.7v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kwBmrdLkBzL.FSf_0kR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e3i3j7UsEFBsUTCnTkB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R5q._YbKHZ6IWicZ20N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azviijVYPsPMcMN0uWK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bWcegkAOzV3LcIlKnHj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9cKAtZJtRNx.QIa5sQy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IoBryJLCdHy85qFIc2m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ms94b9nJHgg29NqY_WK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khMFLvFo3eWbMz7AMUn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DfkXwgPKFbTWSk56S9x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eDb1MJm2MZGks6Vjlot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Zg8sGE6tMno3omk0W5T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BQRrOzbA_q4aXCk3KuU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NFGwOREDUz86NYQfymw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7DxMOO0u3X8Fj_G98Ym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7dlZrUoUa33xIQamZs.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cpvBYCLLRBMzWKNXQfu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tLH2Xcg0ZJR_VuZxo8k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_8LU3oZqFA6zUi2IBxL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sFXer1ab.3qBYS2JPMO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l8rOQQE8fsW8OjD6YRg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a8Tgl3xcCr.JuN1EHav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AFF93AsD729cY6FTQCH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KasuhoBjX_5cCY8TMK8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u14Es3GymLXKb7H3tfN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UZd4DUxm727_uwnvTx6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R098uJ87r7azbN6tln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T8CT4VSuYv9RIjo0gY2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AjZAIu0Co_4XXBxPYno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v4zyTG4QoBnT2CRg2vU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F0PFg406AibBMCujN8o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pyEhJS_Rp4HRhrW62tH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14_v32r8m5VUYN.BxGn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6vP5Z0KwsK9CTO4vTfC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JMXwdLa3F6G967V.I7B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c6WL1MQPFxkVTD3KewG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jjWUXdIADqiyJoQ10Gr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wHN6idRQw14gBEVvP96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oGmcApVN.LD3t7QhaX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tCvTSTexNKJSrTWbe.t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7rm8XjCOwffbi9ijjv3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X_2aOJjkOr7k81LLVGz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O1h5IlF1RohWs8cXepc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kONdAPWq4IWe42jfpwG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AEtRe_h0eBGTFeXB2GG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3qYJT45xGyvD6FxgpTe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3IdJpCUD.PyKHz6b042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hVmdrhAGvZU9eJDSpHN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OUDzYuEB2rpVy3tYa6n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HG_CPTlApueOzImek4.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gEvNW.ryz6J1Q_wEI_n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iQqO5e6AQ.foGTSqie2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6cwYTrTTG5g_Er1JFL7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rCEXNDrpHe42KDB.c33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Cyde04sb76_SvrhZyrd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n1xA86dbhz04Bq3gIlb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AWpxMCZbshWPmrovvEX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gjDBBWb4a.8fXrIVZn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J6oqYltLrkhlM9_jtVo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_Igmpfj_lJaJb.9n8iX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OMrklqTDziYO_ztiYLx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ydbKCBedjQO_i9Zc5to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osEtLuvqDAp3CryDYPB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5NU0GGIHhS2VcO7c8zL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ISdrOOeebVwn3HZrpgh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JmSHBhesBUgVqCdj96z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vOuopuENUnuC7iAxkAU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XpAOB5bH1f8ECQ20bv1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T7t1Ozq9gRv.m341Piy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9ZytaY9_jEiJ_j3vc.X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9EI4ksNg9OM12KC8c1Q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yKBDGEJ5zVxa4FzD1CWg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4RCZLJUzOB9kRVXVjv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2Y_RsPZXwBLAi7emC3A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gtkMoyyE04tAqK9ux8w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Hoeb3j_lUakhhHrGva_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c4Md7SI56X6u2YTyi2w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PAiuOuR28dQ02R26K.o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Gy.NZRfWmivX7zup78P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xNmikZuy2yd3gipmX8C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RytiSEp0HX81Ss0VFOv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h2eqWXKq5PlcWqWQR8z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wgy3qWJ1dU_Q3zjjNpW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MQu9Ftw7JsS2xzwUExE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YlmkYvwtx27iK09j8L2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hoeaDh55Y.mUmpPzIUQg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QtrBqak5s81Ur1tgA6B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.RUJ_jSP0XxNl1GkEzn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jC.gBrXl94gBbxUSmeO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74fYUIiGtVHraV1xUpw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orfZ7gM0Yv.5AzENkaB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FBNjtw16n1oV042f72I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.usXp2N5XFN2DCa7qwu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JURh5htQl0uz7RTfPWb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J1VfdJas5.wVJJbGW5Q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xdZdi2V7LVi215_R3ay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rGy1ZJKGlHkaDGcKyi.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LdiZlMJcd4M9nJITULW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Z8_VnVDmHY4nHJgbKDj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3_f9Q5ldzIbQBspuSPV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K0_ZDMTHSq7zrLYJYtV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mAWcH_XrebLMfbiwpp1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JnO_ES4_HhI3E.zZa0I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PxDgUNq9d8IfCNqOgP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huUsiREkWIwolLLfJMZ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F3JJc7zzRZGh7X3fhUV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L5Lh0SY4lHna8p.WNni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iPoYi1rK68Do2ccSY5i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2.3Abre4.1XpVn2GqiX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lWW91OOJCf2hmxnHjDN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2iTCIPQLSIrwA6Y0Y6b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AJKRUZ9gmDc4QClcShwQ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8aYDqiPRxf2hfY08sFe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jh_yqcAMzy_0ME87NtM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7cKd98KVtvL4IFq_j9j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cXBSvSQKOJgIADnUGHg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wjDkn9IcWChk5Qh7DOX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1WoFbFBexxoMLMRJJUs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y7WtzIa041PUQ.liGfB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sOrB.U06vnvG000h3fJ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rysB7ng_L.tNHqeu1wT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UA1X9pEXTnd9thfbwwI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XQUqs6lJSCdGKUYed7A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X010loNRKx1ihcBSNRD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nh_cOw_S4DrhKaOG5cw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Sb8Uj9vtdaaoTJ_Xmzw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kQgWHCys1ToDpnW.gWc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tz2_7Pqn_ionVnF3Ass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Bd.OA_9GLhWeO6XT98.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tj2j_vs0RBWsJoxturW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uYAFly4b.HboEZrZudQw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O2DyKuyU9EoLeNDBa7E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NBappky5Dl7K84H.zHi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g2QaFeEtG0ZD.kLE9Nz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fNiEVL61_B_2GC_0mlc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HMBtT_e4tvWS6qDMPeeg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5SHAH6hck8PdAbL3mHN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ODvNmmrUa2bvRSi2Keu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2ff0XCQdJQFFoOHdgzX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mJO1MBrJjpoJrY.XxOY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6D_xEqOHvnXlPV5uiK8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bPPB.oT1btcxTJSybbo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.mvfQL9BTZ.qsHhinI7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UswuA5hF9qGD7A4_CrO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lvnVJY97kUtyQ8zscfe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imguDn.vyjLd1SGoyR6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31.1gG5qAx0PKEhORlO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Mw9gwIvj9M7ATxsTpG8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VJIFR5Y73MGdVUVbPF.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M2RFRDtB82u7wD_7_ou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h62GECpzir21MV34Bsl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X7zUtLT4L2PpbYrMVyE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Upqk1dYynS4Rxsev6_6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BSvhsmjmaJKSHEO.PpD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XV4h7Bh7uG7CtX4l7BC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D9ihJEmpIDpf7ugcqmO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9bdLJagRS8kC6_ePNfD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lKObvbIVqV1E2k3RLA7w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cBRrBdarsbDDpobTQ5h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UNJ3LCKRzu3g8BiQ0fk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lXAAGJJEO.doTgPucmP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WY2VNr.RS0HLLVnGa_I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1Gm_0CjImKH_fEW1VaQ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Y.K69YjULzZk4cS4hMQ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pU2NanF5qtLkK6ZpftR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WvStqOa0bXBE.r3EzmO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87REkl4nQayewjVSSLpw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klk1495MjpYZGgMi6y.Q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nCi6ieOkqB7wwNDANVx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fPhDjgr6QG1s85pAE..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l48DE5nGwux.h5JCj3Eg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L67CxAKgnSLm0ayd0EEA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siYblrWhP5Gpym7IKtTw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TDpLZCVf_2Icb8Uio3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HE9S535WJ9bFfysoVdZ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d88NxNQ7bt9Qoot1jVz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OgvMD3ZxqsNabwaefWh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woaCydhaCIbtZwD7HZD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wxPUN2ZSFwPy_CmIChB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M34XapjWbBN3e7ksb8M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Ax9ZWRrclK2h710fNdg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MbA.Q27nRjVoUDjERqeg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oMSCPrXmk3IIA0Fwz1F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l2uOhHq3VnVLbL329gT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dYu_2ZxVuuhVtYYdtTf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GlHWkF2BQQ3oWGWUTuH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mFWU2DJ1A5KIm..MpnlQ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mLkGKD_AiomF_zaYYrz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TwkIXmBdurvakcW6979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uxX9Fq_eHZb9zYg8GxwQ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fmpvnFxMmmWKkunvKjIg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GLWFomf1uP7YKhAwTQ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PA9lynN1rzwDLOM25TCQ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dxWdvorAXIUkmZLaA8Sw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GbTW_t9EIJr41qWyAjhw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qgX16xOPRQCfHUpDgEHA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MXHbAmI7zbcZVbFAIrS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Nl9KbyTs2S5fetURWII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VVVFrBx7O3at586A9Xp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iX_1vAu8ncLBRRg2ai.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fJUEasNCDBrQkymk6xv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9NbJhC8Yz81IXyfRswt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th2fhv3IkXvOGxTutsn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dLBBxojC5Q2wO8K4z35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Au9EC6RzdandmDRV_L_g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BoXx3C8Hm6NfKkd_W6e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ZHvhof.up2n3_c9i39_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OVkSR5Rkak1E9OE53wUA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IB6blpFpm9MU0BPeaheQ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1CrINAJjFZ6eGUg2TUSA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54u8w8a1ixAzzgF80UJ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6BY2VzyLnBPeFtj1MLg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bhlC1UFBNzUkS_D7rCf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bovrbBPgkGK2kwyJQc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FXYBjXRoHkOPQpoMJZew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4biyqXHrCQMTrJJ.XoG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2zcRh9wjBCNuOIROTJ_g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HorMLBzQO0MuimzyXb2w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63s2FoocXbt5DVmUadIw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CRgre.p8uVZA9XpCgp5Q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WB6r4WKhtdh4gZTGMTHA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cMw5vQ.UUexY0ukXJlnw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6o3APHk3HACPPvuMJFzg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CfWDE_CR8y8NakD2Mzt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w6qcIi39dB9JTcNwkZs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Tx8S_quBmWM5VNrAKLzw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5uIZ_.bvN2tHOll8obKa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FGmG1AGeG7uNs45rfciQ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9WJ1E8hTmvFvdYJjJJx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mccSbV2BOdnqxZ3kld9A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flBHDe2p80Y1jBRpGDxw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LJS34RxhE.0JFNcvIIe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Pffgwr4_6UavOdPU7XrQ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mfLLn8vcrqiaaSDAGjiA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6wwZ5x.YXIP.XgXi5LLw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Kc4xWRnS7rfdNgThR1n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VpjnjdXIVyY23v7Xa3Z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RdJDr9zlQs_Ywnjda4HQ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WgP4EGc1yAEy8jqe_AR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nVesttQ5TtQRnpT_pmx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T4VYoiC1fzkLet2pkdj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JzCwsYvlecZ7r3IhNCmg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693fem3Ep3zRdRzJDVa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BBZSrGSjz9mmyRD2405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40Wpq40lR0YAI4B8sERw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Lc0TrVo.ebYAa4jTpeZg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oqu492v7669sr_wfBsC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2Nlt05FxXAVIo.WnxWYA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ID7RyDF4.J01pHVXq_Q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DZmKZIsNwmw2_0kpW45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SFQWdaMKgEU94zXSkClg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LOiDXBEKe252lsmLa0yw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N_5BKUbO5SXI_8qgwTIQ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kygbCWs6A9jFjsW0GHnA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a853jAGnYZ3KrsApXtew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2NFwDjqLztXbYwKRpVnQ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kFuxWrsClesaGrPEB.M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p6mT4aadjmlXE5x.zcXg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HInz5tZwk6TiG1_UW0ZQ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JKAYexWXfI5knRDPFj8w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lQVMSzOpeKnqZrVobiJ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FL_lvFYdbXX0DFlNTUxw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CSHhqb_RGpmSsD5Cwiog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f9CeU.VpA7gf0XhiyhW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ALhPkXslTRS5zh6VFEkQ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YgS8Ew8t1nUOC3j7Tuyg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N1dTG2Z8Ap0ylTjexShA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BSzDFyLLpbTxscpE28O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Ke7UVa_tDGIOolXK2oRw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S.S4Tc4wHIHA1zT2Gp0g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eYnTevZ0Qo1Y5PN0xM_g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EkecvgG2Qngk04_akKG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Pln1uKbvIPauNFtNMgO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okUoTLMq5pqTDKa8o9Ag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UKEqznNVFKh4cdeRXUlg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bPBksHrRQFsZr4lsp6sQ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BQ06V6fnLNkOflYUVIuA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cvilefWrrULszW4V2pVQ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ojDmCW.IWNZJFp.OMOM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BM5Z2ux09e6BdqYztP_Q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Ije5Yqi1Hawrfjw2CsM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kFmzJkksTBoikAqv5FbA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WiD59UhjqOCHbV_GVZDg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k4s0e5.ouZ4zfTAmzjDw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deAd7xBjjOQxzPpo_H7g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KQDddc_RftsXC3igblxQ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JMAvMnqOqk8ryW.Ue6QQ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Vh57Jju2ONz9RyOvyp0Q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6dMjTAR1gVsJXrV4mGHg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pm3RroUA_00_UHlTdtn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0NdFyBNcIwVRv08Vm4q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7i8_w.AXdCceg4vpEXxA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079ekJCxz0Gni5Assoqg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jtQyhG4_1oHImBC4nH8w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6LFieCgfMu.sV6vWAUFQ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PdIbS8DW5P7eNPLm33aw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ix11R8E6BLmfUXdotg4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JJll2JZPgHf7qJB1v6KQ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SqClRy.Vtnkr5MYNOhmg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ptNwlWEHWVo.tX4na5vQ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ePEtY1utl_m8wbyDiYp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INovo0BFjbtKSoHV3Mww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puPp0d4AkpZCm2NtSIkw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IC61dmWLgTk1gsgmt2Vg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.t3v4zltzoXa8H4cJVVA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zbpql21vyqtHjfAVDhRw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1OqPd8sKjcH.0Rr_N4Lw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9x5V8iZK6folFay68wAw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KJNOtU25zoK_Z2fAM9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DsHwudbvCV4oo__JmiHw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FHab2CFTMfgli7s3QdkQ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vCFYr4tBXSKcBAoTFw7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LdeserZ81fv_dKwFgGKA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L6zivhmjPczIi.OGi8M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Jd74oad373fjfgqIzV2A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MGwqD1Bvs6v_.as.Y3eQ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p1qOek480oz3xXOhVjjA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RjiESYeqGekoOwRw7.Xg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2108E4PcnOBxJ93yo3Q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HmZsjoKRUWK6XvLNxKfQ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oXl3g6vj3wK4aZ1cNS1A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_SoqNPpctB7T4Bxi8WwQ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nhComCWJQP1clKmcWb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vDZbxzysr6Drcgmdqzh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be6bs09m.Bm9AUE0qhQQ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JFcqSTAXtHUVZNiGbgR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kuADlE5hUjW4mbCIGSOg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8VBvt4FUe2x8FmxWrPWg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tU_bLlqmbbhRvw7YJ3r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RJV05xWXkUBySJcgtXXg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EpyEFzEWnkLPum3rLHZA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0JghbNTVeO1QE3t_8dPA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3Rb0SOljFwcmTaImDAGQ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Xq.lNKpyRn._UJoXTBcQ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TPPDox0mX0bTWBfLSNi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rADm1XAii351BLPOoUlg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DWfzbbWrKdWfAgiglzuQ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PpafWLkNZVBochGh3IWQ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7M8z.Yibo3sCAY68p3xg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IyYK4oeTG6LtbCLq6c9w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HFtzmjCnD3Qh3CfEAMUg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fxz9hRoBDh4qRul9ks0Q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DiUEvCDkUSwZ66vs1AnA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iPj_.QJQj3JhaBu2td5w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t_FUtx_TqzqjIdeppiYg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sh53wnb4aqneaP9ccSn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IPM7nFS1dtGjOc3zwkSw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JrV4R00h5kT0MbD1xSEg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fKVM44ydnfL71K4nkpj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OWkHF4R6JYDeBrTXqnCA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KzXgP.r298SM5v.kET1A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15q60FlWymDx04yjEbKA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YWb_2BE6ujJsJwDqo9lA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D74iCD_NO4O8rmlWZ0Bw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6l4MRPOyty0VeSqIW5gw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33bOOhM4HNwCoOAzVSMQ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ozOksPxaNVC0UrFXQn1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7NtcJIEKTk2.c5qIB8sg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5fhRFbXO7W09sSo3HoU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j_m78E1B_4z5WtJ_xcq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mPpWT4Tl8nY72gg60d8A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qWyBJGhKUQfb99V3br4Q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O5qAsWvxERpamLKU2PGA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3m0NyBgg7cIIXMUO3EhQ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X2ELs_uU9WxCVAQxlVkw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bc1d3BxEZ1D_YOnL7BFA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cEP2N6zZ8tc9pS7ZJnEg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B31D.EHndzGXpUDksyV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INovo0BFjbtKSoHV3Mww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7yQMxYbhIaa54QN_71cg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Kl4w9rGdOIoafmz7Mkcg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dfrniWjAMFajnnGKi0gw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R6PErwDiHIUv6_ooYOMw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1hy0tve7j5GylKa1t74g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tDhyrFdjZQUThtoDieaQ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3rx4uipcvbXHocE5Wzew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fH5mTiWIsXYE0QPtSNDg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CFrSrhJKRfafZVzC.WtQ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_olrkLB1CnqPCcFnBac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cUg2HM_szXGESk3uzEbw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MPz2WsSkfTF7XMsiSrtg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UgXaojBr1ZW1rT7W0JTw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cf5Ylt.K16a4xGc_2a4A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M0FZ.N6AVRmtejNxKtw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LyzXge7n_9fxYgJcO4zQ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5PCFzjvOzsjZ70Ok.75Q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HgvBDwO9KS51hnHkXpjA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sbY8dLfOpGhladJ7X2Bg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ntZPWzVGmeeENKFLfD4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08raEenWWjGEc6.J9PFQ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_R5L_YvadGxOfolBXrRw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dLrIQVyQl9P0bUZpr6Sg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7rCn0oYGkdVpfhe7GDCg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08raEenWWjGEc6.J9PFQ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0ap7abWIzWU_OToVf6ow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NRQfn.ULb2YmEg3dds8Q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VfvDznicULi3o2tFkULg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GY6Kne2o_XrIJOvmJ1X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lZfG1m7J4rk9T4zCAL1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6bFaNF7hFkPMJQmpF9Wg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395jZnIjgE3EhKkSxJcsw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Os4b8R.C_L.KJYZbNZkg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BJCMOZ_ygApUXa7hGHpQ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BDWYsI1JrELASy7iV4jQ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VqtU.aQP0iEX4_qUK60Q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ZM8juyt7fZcTaRnhRAxg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seqA4vYZWYU8SwnQcWCQ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1v.zEo.fkgN5DcwPyh4g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7GoQMwHV1SsIwcCQPAuA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rC38pQSD12RNlpDqcsO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gMRnVb0omT_qnaPRmF9g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RwSzxOhAg0rRszOBqnQg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Y4_wWsMH9afv9OmIaQdQ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lT9I79gjBpDPbutjw20w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M2183Oev9DD1_TuDZgbA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v6knBJdQvFxsg6o54aGw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z.QlTZESa2GtK7IRPCnQ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6bFaNF7hFkPMJQmpF9Wg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gMRnVb0omT_qnaPRmF9g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n.cgyZBIsFDVDIqDjDlw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CuA2_b69ogQbQIDPDGo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n.cgyZBIsFDVDIqDjDlw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EhlLz_YWVa9fVMR8k4qw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rWZviZs9ggIV19e0f6yw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iOMAeS67sD81aLuZbaw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keHrDoYBGbZC5LhfRaOA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TNFiYNltnfyoKUo7yigw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Mq3oSzu4dYNHGs1KCGig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z9zBqJvBaC_OWHmi2cIw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LEJEl5xdzNVXVAHS3pJA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9yOiBuWSPH2zp0hhhvRg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_jIbJ6IzwprwS4XN1.8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EOo.YDpIoY2GA7GD90bg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HapidmbNatYojbNNvGqg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6SUkR0vlds77fhh144AA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F8goOTw.AwmS4PiXSjlg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Gm8z0v93yIxPBLm2iUng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44.vUKswsCIwD0P7s39g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EbWdz_CtvjhzqqGhV5lg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IUIw68YMvBYDI2ECbqsQ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G6mIdxVjPWF8x3zeV32Q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j5fxrkOyuYBLEwv9dd8A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S389K8JUYyk12pUj2ND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EhlLz_YWVa9fVMR8k4q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A2Xfp6OJ7Ym.au2i7bKQ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xdf3_FKd0wVEEv6R.C2A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.Noi19XHKCN9T76a807w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6oJWzw8YT_.GI_tui1Vg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3hPpSF_II35Mbd1rHgzQ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_BIxK4AScmhI_gaFtEq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RXMVwBe3RdCciYhJPokw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4FJyC..7cBTJfP3nJiCg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_8sPBFAz28EdDSFr8ijw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ZSi3hwuKk7iPvcMYIv.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q3Tb6xwIUYFQClLOjUAQ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mLmagvLM03Zz8fKo_XFw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fd72okoLFVer8YDOmd7w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Lq27XgIp2DUeuNXfCp2g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pVbP2kY7Jkk.ApYGcLQ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tnupH9Jg1Zpc6w_XDTZg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19xBsnpld2LKg5_38DPg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lVi4YxwGhESL8SHYkLgA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XEJnSsnHoy2wOhICLj2g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DkX5jbCbsSRD85z_pYlA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fsAfSB_ez2QIuNu4nMz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2Kd15iIWa0v23V.igg_A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5ZGZ_q2G1AnYKwEyxC1w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zb2FnUs2.bY1safIn55g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NommZ5sCnWY488gCjiq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V3yUUKeMPeRdN73IKzjw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D.VfUNTe2ouNH0Z2WLdQ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OfYRybMiGAQ7ycNb9hzQ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WDt5Ok2ZQ4rwUviuPUtA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jKej_EOkrGEo5kO35fWg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YOmIS5c.N6qD2brsAbGA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FRdxWap3n9DT8CwgXdo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or2kI9FOAWLbUWXMUOig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xlnTsQnzkP5D4iBI1D9Q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Z07fx_rs5.7_T2MF8Fzg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VwI7VlKAV5fRAlW7_TXw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1GZWL02VjCcs0pwIEXQg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uoFGhnZukM8A4DMFLHVQ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QZIv3_l6Ae9diFHizLgA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v12zNdX9A53yLkIzrRmg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deUCWX8.ikX6Ud3RjHGQ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5DzGVfZdlggfKNtm3f.Q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QDyLvsIgxH59mfbEV9O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CletDpSdlObmldt4L4Nw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w9968g63Fi7b2gQjXi4w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kTC6lg8P9Etz.A7yOw1w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AlTAPoZTtsO8g4IeTkVQ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F4bIDogt2qbZWmi_FraA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OEp33vcQVLoaknYkq9sw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iJdax4w_a2wKQgr8D8Hw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ew3q0D1FGzHoKzix9kqQ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W6qJO1ml5EESUDjU_EqA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rSqfBKOAMLQNt2RwpRMA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_PLS7AHopNWpXwdutHS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Mq3oSzu4dYNHGs1KCGi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V4K.pcU9F_quIO7W_e6w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eIdrjrSyC61azY3.fnjg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cDYNnge92w9QANmytSSw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yank5puq7FZOF0V_5l0A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ub36HAbK8Fag1zsXEVaw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RZ8EBxvZbFELbBKkEg_g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_scnW1odD70SIothNAaA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.OqTttOcgF9nkkBnD0aA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QJzUWxhrMflZPmGUWt0g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AQk_BDDEZyN5p0tjMeG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z9zBqJvBaC_OWHmi2cIw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4ug8F1WeR1rcneTB6R4g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k2MkUOL30UVBWW4i5rgA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bfNn5XdqOxHo7ko_Hqcw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UcOGvQ_FJxPXkxjJWJ5Q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Nr7JGAgM2tkv.SspQwPQ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0HngX4wnLwik5LMjUNgA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kOiwBHLWZXNCawcvt04Q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rEWdN98nmu.QNLNCyjKw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Fg2uYfx5bDQc0B5fE6QQ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kx.fQi7Q37r7zrLHJVk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LEJEl5xdzNVXVAHS3pJA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_F9hc2nvAYsyAv6MqQAA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BG1W6WGpAmpqCq.mf_2A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dqprze0LtuRE2ncDAdRg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zFdJgg0DabzniUmXcdCw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MPj2Gln5_GQm.ETg_y_Q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pyzgQAEsH6wRLLSrshDg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b1dApR_BZcT800LqqkaA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mlqHDSAvt2tj3FCfEe4A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W4wbka43PkcH_ub_XJA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9yOiBuWSPH2zp0hhhvRg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qKCXYmxEbqRStWfC7VPQ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dMa2cOmjef9G0ByBNdJQ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viMxKLqnzeZrxgVM6B4g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GBe7Wqb9LWV7yJ6bkQvw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D94emuG.QQChq4nrDd1A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dYmtNaZZ4SHXkyubAclg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b1dApR_BZcT800LqqkaA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ScSKCI9vNYaFZvPGAbm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huUsiREkWIwolLLfJMZ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_jIbJ6IzwprwS4XN1.8g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th4wP5Ch2aDUAIxYHfvA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DaOlhXg.cE42vBe2HsNQ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G76J6l1NetWy_6HVUD.g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_3r4rebbHWJpNuneAxfg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sFrXXSEURXfXJHdJsyPg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zS_sCQvhshF4msIPD33A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xrqldomhX_aInR2BzdLQ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sFyAKhj3EtPI7EASEAfw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EofNBrQNu1swuA5TbOeg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NTZrgSzOAcliOPf.AIP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HapidmbNatYojbNNvGqg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dMns0PgYhathjLFoX0sA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T.VVdGRzGC4LDOnsYeWw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j6GXeDXQfCE6hU0TNLKw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sfzsrzV4LuQRh9g9d.aw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xQEW6_OP9U50npcQtEOw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L5blRq2NPeNJPdw.6Bsw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o_abI0fpdjPqW6NMYrBA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KOBrIYnxhfrH3qXhfk0g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SLalu0dNw47KRwRQyDbA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Lw5npCec3Zh3qCX3NUF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6SUkR0vlds77fhh144AA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KUjkgw2dvrISFG7PztVw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PsUavxLB4X0be5Vme1Rw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zI26o8.aAimApZsuQSIQ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AnoieHuLZHZN4GUzOpfQ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HAKLVpibDQwLzISOy34g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3MhCE1WAVL8CIHwTxGIw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mxuLsykYbyqg4XlVpBlw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pFvGYtly47sTe9IAUE0Q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iDqsCGE3EYMbAnwtjaWw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fXqvazvr5YI_Gua1F87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F8goOTw.AwmS4PiXSjlg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MOV2GDNqHyEgz2GiKwpw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gMQlknPuL64HFp.G0mw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M3fvBMtVrKKUin6Z2vfQ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KxNjVy_VrBe2qAFfc6AA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8Ih_nQvePbfQWWsBgf2w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bnQilMxooKDLSkZx8XBg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.F81eJ3BnOwPqLQlnm8A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WhSJQW1Hgudo0s8yGWZw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5ZyZI_u7CntCpRFbV0YQ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syFezvz5q7t5xKbYwwo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Gm8z0v93yIxPBLm2iUng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ScSKCI9vNYaFZvPGAbmA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th4wP5Ch2aDUAIxYHfvA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6YKaMIAymskttwgB4w0g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oZryOz_.CQOop8Ysu3YQ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45cvo2126WbFW1esQ9BA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v1mpBt5YV8VxT_IV34LA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L4WMsgR5hm.zNqkP_cWA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7afSaJatCKWBtdia9u.w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FuN6sDtMOl4KF9Axtgp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40yZtXf77M9qefGD1zAg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TVmudqy6DDWipefPHdMg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hkPGGfMFLzMqMkXx5xEA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sfzsrzV4LuQRh9g9d.aw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xQEW6_OP9U50npcQtEOw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VEFQy8AXBnbJXbLFwAKg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bDt58lHaQfhuJ9xwUULg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KOBrIYnxhfrH3qXhfk0g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8ZGQGDG5mqZ9pMaVN9mQ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bnQilMxooKDLSkZx8XBg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Dn6nF8DkhJdfabT3ycE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odcTjXJ76cioVD_HHpwQ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xKU1VC7BMoJKVBJgRgkQ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PsUavxLB4X0be5Vme1Rw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zI26o8.aAimApZsuQSIQ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HAKLVpibDQwLzISOy34g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3MhCE1WAVL8CIHwTxGIw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4rhW1ES_YCMYgSf_ub1Q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mxuLsykYbyqg4XlVpBlw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S3_9rQGOtVTqw4xOBdIA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pFvGYtly47sTe9IAUE0Q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mgRCHidieR208BQuGFf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IUIw68YMvBYDI2ECbqsQ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fXqvazvr5YI_Gua1F87Q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EzzMTSJV3WUX.I9V2yaA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gMQlknPuL64HFp.G0mw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KxNjVy_VrBe2qAFfc6AA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_kZ9kHLfRjdczn4c7a8g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KUjkgw2dvrISFG7PztVw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WhSJQW1Hgudo0s8yGWZw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Ty_3e9zzYA_jokch1fng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syFezvz5q7t5xKbYwwog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nlOgINIKFUBJBPb24oo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G6mIdxVjPWF8x3zeV32Q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ScSKCI9vNYaFZvPGAbmA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th4wP5Ch2aDUAIxYHfvA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T3W573agzDq0KGttk7_g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6BXKvykcQm.DQJCx2_hw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VdvJFvcFpnxF5jjKEuIQ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06nw.1VEnqEuICeZAo5A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.rPhlpbe_k1qLhoE685A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ryflvnHRjln8kVe8lP5A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IAPDy5QTaK1DWXOl6mN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j5fxrkOyuYBLEwv9dd8A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7Ifqyg33N01K_iwmtHeA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eDcZAa5lRLgcb41ozXng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sfzsrzV4LuQRh9g9d.aw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PVALnWULngMsd.jSkr3A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CYkI7.gmolQttAyJxKnQ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xQEW6_OP9U50npcQtEOw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dOXBYiXzbqly6IZirYqg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KOBrIYnxhfrH3qXhfk0g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bnQilMxooKDLSkZx8XBg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KUjkgw2dvrISFG7Pzt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XMupV6NxDhrXuiSLQH4g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xKU1VC7BMoJKVBJgRgkQ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lxqz_DZ24u5If6.un_Gw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zI26o8.aAimApZsuQSIQ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I0ksZmm79_aPyKjuxEdg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HAKLVpibDQwLzISOy34g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3MhCE1WAVL8CIHwTxGIw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4rhW1ES_YCMYgSf_ub1Q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mxuLsykYbyqg4XlVpBlw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S3_9rQGOtVTqw4xOBdIA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pFvGYtly47sTe9IAUE0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A2Xfp6OJ7Ym.au2i7bKQ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fXqvazvr5YI_Gua1F87Q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EzzMTSJV3WUX.I9V2yaA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gMQlknPuL64HFp.G0mw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MTsq7iwO80PIrKu9JpuA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KxNjVy_VrBe2qAFfc6AA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IdhHHScBJDE7tz5243uQ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PsUavxLB4X0be5Vme1Rw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WhSJQW1Hgudo0s8yGWZw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Ty_3e9zzYA_jokch1fng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syFezvz5q7t5xKbYwwo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lXtIPQLmdEtqtQFJDqqg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nlOgINIKFUBJBPb24ooQ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ScSKCI9vNYaFZvPGAbmA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th4wP5Ch2aDUAIxYHfvA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R4R97gQzaR1tCUBAes4Q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Cv531hKOzCDcqPvgKIgA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P1o193oa8ebcAsvWpbxw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yJX6o1zUG5wPkZvLPEzQ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5NtgwghtcbxhAXOdmWfg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LqHDi8yVNJ5Yye74nRs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5gaSo78MiP7ApPntG.5g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OJsiChN.d0j3QUI6J_8g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A1NNQ9wuGCWu.K.jRLKg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mChwJ46FYJFlSRRYEQsQ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MtVdc16K5wJkLK31MD9Q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TAhpmR.xGqS0aas.2GwQ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_DQncD_WG7nOCia31pgQ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qq3Q2cyOTiJZWSRBNoZQ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yDsfd16tWtsULGHq0Rew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n57bbe2RLXygq_U.767A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sfzsrzV4LuQRh9g9d.a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QzkFJXxX7fwUpfBrGxpw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xQEW6_OP9U50npcQtEOw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orvUed6H_QJzhvnihuPw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bDt58lHaQfhuJ9xwUULg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bnQilMxooKDLSkZx8XBg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KUjkgw2dvrISFG7PztVw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xKU1VC7BMoJKVBJgRgkQ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PsUavxLB4X0be5Vme1Rw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lxqz_DZ24u5If6.un_Gw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zI26o8.aAimApZsuQSIQ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HAKLVpibDQwLzISOy34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7rldvKPrn1yAhfVAkXig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3MhCE1WAVL8CIHwTxGIw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4rhW1ES_YCMYgSf_ub1Q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mxuLsykYbyqg4XlVpBlw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S3_9rQGOtVTqw4xOBdIA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pFvGYtly47sTe9IAUE0Q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mgRCHidieR208BQuGFfw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fXqvazvr5YI_Gua1F87Q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gMQlknPuL64HFp.G0mw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p.gVZvEPvYKPB_hsBKw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KxNjVy_VrBe2qAFfc6A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0QmXxd41p0izz9aJFqqg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9s98t9ZKYMZ9ZSnRdpKA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KOBrIYnxhfrH3qXhfk0g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WhSJQW1Hgudo0s8yGWZw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Ty_3e9zzYA_jokch1fng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syFezvz5q7t5xKbYwwog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nlOgINIKFUBJBPb24ooQ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ScSKCI9vNYaFZvPGAbmA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th4wP5Ch2aDUAIxYHfvA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yeqkwezFkCbJYtR6xWw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RXMVwBe3RdCciYhJPokw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ogKno0IUrDKV3vaW95LA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O24OOHHh4hapk8zXU7Zw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H1Tnmhcl0MRhMzcio3Kg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PHcb8f5GkHv7NtKZlAQw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t3wtf2XqfwNcitNsdKYQ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rxUlO_4Cp6ph4f8eqkTw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I3VBISzJcUUjiZGtNeBA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lPqHbA9u1P.VMjQfRRUg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9t.Pqrrevffu3qAj4piQ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8ZEFeYvp5EUS541mLPQ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4FJyC..7cBTJfP3nJiCg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2RpVPsXwv47P93RP2HIw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3YpT_fiaE7pHYGaUZPLQ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sfzsrzV4LuQRh9g9d.aw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xQEW6_OP9U50npcQtEOw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JR32NdPaiCoUAyOUnxFg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KOBrIYnxhfrH3qXhfk0g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0BcLsqvXJ7HBBwsAZGYg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bnQilMxooKDLSkZx8XBg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KUjkgw2dvrISFG7PztVw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AwRfYclHKTfr.c5RLwC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_8sPBFAz28EdDSFr8ijw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PsUavxLB4X0be5Vme1Rw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zI26o8.aAimApZsuQSIQ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uXBHm3kLtYjbS74zD04g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HAKLVpibDQwLzISOy34g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WMwqoppK5qtTbdwnluMg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3MhCE1WAVL8CIHwTxGIw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9272qFqxNheGMFHnCQuQ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mxuLsykYbyqg4XlVpBlw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kYvfEwnCVz6ymgXkVtQw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pFvGYtly47sTe9IAUE0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57</TotalTime>
  <Words>3053</Words>
  <Application>Microsoft Office PowerPoint</Application>
  <PresentationFormat>Widescreen</PresentationFormat>
  <Paragraphs>1984</Paragraphs>
  <Slides>31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1" baseType="lpstr">
      <vt:lpstr>Arial</vt:lpstr>
      <vt:lpstr>Arial Nova</vt:lpstr>
      <vt:lpstr>Calibri</vt:lpstr>
      <vt:lpstr>Calibri Light</vt:lpstr>
      <vt:lpstr>Poppins</vt:lpstr>
      <vt:lpstr>Trebuchet MS</vt:lpstr>
      <vt:lpstr>Office Theme</vt:lpstr>
      <vt:lpstr>1_Office Theme</vt:lpstr>
      <vt:lpstr>4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Indian Economy : A Snapshot </vt:lpstr>
      <vt:lpstr>PowerPoint Presentation</vt:lpstr>
      <vt:lpstr>Industry Performance for Q1 FY 2024 (Apr-Jun) compared to previous year same quarters </vt:lpstr>
      <vt:lpstr>Industry Performance over the last 4 quarters</vt:lpstr>
      <vt:lpstr>Performance across Major Equipment Categories in Q1 FY24</vt:lpstr>
      <vt:lpstr>Q1 FY24 : Sub-category wise sales composition (I/II)</vt:lpstr>
      <vt:lpstr>PowerPoint Presentation</vt:lpstr>
      <vt:lpstr>PowerPoint Presentation</vt:lpstr>
      <vt:lpstr>Construction equipment sales registered YoY growth of 18% in June’23</vt:lpstr>
      <vt:lpstr>Construction Equipment Sales: June'23 data shows YoY growth for three equipment segments</vt:lpstr>
      <vt:lpstr>Region-wise Construction Equipment Sales</vt:lpstr>
      <vt:lpstr>All  Equipment: Historical Trend of Domestic Sales</vt:lpstr>
      <vt:lpstr>All  Equipment: Historical Trend of Export Sales</vt:lpstr>
      <vt:lpstr>Earthmoving Equipment: Historical Trend of Domestic Sales</vt:lpstr>
      <vt:lpstr>Earthmoving Equipment: Historical Trend of Export Sales</vt:lpstr>
      <vt:lpstr>Material Handling Equipment: Historical Trend of Domestic Sales</vt:lpstr>
      <vt:lpstr>Material Handling Equipment: Historical Trend of Export Sales</vt:lpstr>
      <vt:lpstr>Concrete Equipment: Historical Trend of Domestic Sales</vt:lpstr>
      <vt:lpstr>Concrete Equipment: Historical Trend of Export Sales</vt:lpstr>
      <vt:lpstr>Road Construction Equipment: Historical Trend of Domestic Sales</vt:lpstr>
      <vt:lpstr>Road Construction Equipment: Historical Trend of Export Sales</vt:lpstr>
      <vt:lpstr>Material Processing Equipment: Historical trend of Domestic Sales</vt:lpstr>
      <vt:lpstr>Material Processing Equipment: Historical Trend of Export Sales</vt:lpstr>
      <vt:lpstr>Performance across Major Equipment Categories in June'23</vt:lpstr>
      <vt:lpstr>Sub-category wise sales composition (I/II)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kush Yadav</dc:creator>
  <cp:lastModifiedBy>Monika Dhole</cp:lastModifiedBy>
  <cp:revision>59</cp:revision>
  <cp:lastPrinted>2023-06-16T07:35:51Z</cp:lastPrinted>
  <dcterms:created xsi:type="dcterms:W3CDTF">2023-04-21T11:32:25Z</dcterms:created>
  <dcterms:modified xsi:type="dcterms:W3CDTF">2023-07-29T09:36:21Z</dcterms:modified>
</cp:coreProperties>
</file>